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484" r:id="rId1"/>
  </p:sldMasterIdLst>
  <p:notesMasterIdLst>
    <p:notesMasterId r:id="rId14"/>
  </p:notesMasterIdLst>
  <p:handoutMasterIdLst>
    <p:handoutMasterId r:id="rId15"/>
  </p:handoutMasterIdLst>
  <p:sldIdLst>
    <p:sldId id="293" r:id="rId2"/>
    <p:sldId id="295" r:id="rId3"/>
    <p:sldId id="297" r:id="rId4"/>
    <p:sldId id="298" r:id="rId5"/>
    <p:sldId id="299" r:id="rId6"/>
    <p:sldId id="313" r:id="rId7"/>
    <p:sldId id="311" r:id="rId8"/>
    <p:sldId id="310" r:id="rId9"/>
    <p:sldId id="312" r:id="rId10"/>
    <p:sldId id="314" r:id="rId11"/>
    <p:sldId id="315" r:id="rId12"/>
    <p:sldId id="304" r:id="rId13"/>
  </p:sldIdLst>
  <p:sldSz cx="12192000" cy="6858000"/>
  <p:notesSz cx="6858000" cy="9144000"/>
  <p:custDataLst>
    <p:tags r:id="rId1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EC308"/>
    <a:srgbClr val="5A61A0"/>
    <a:srgbClr val="002BC4"/>
    <a:srgbClr val="1E7BE6"/>
    <a:srgbClr val="FD7627"/>
    <a:srgbClr val="88BF2C"/>
    <a:srgbClr val="053BFF"/>
    <a:srgbClr val="4B72FF"/>
    <a:srgbClr val="001F87"/>
    <a:srgbClr val="FFEA2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47" autoAdjust="0"/>
    <p:restoredTop sz="94660"/>
  </p:normalViewPr>
  <p:slideViewPr>
    <p:cSldViewPr snapToGrid="0">
      <p:cViewPr varScale="1">
        <p:scale>
          <a:sx n="128" d="100"/>
          <a:sy n="128" d="100"/>
        </p:scale>
        <p:origin x="512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3774"/>
    </p:cViewPr>
  </p:sorterViewPr>
  <p:notesViewPr>
    <p:cSldViewPr snapToGrid="0">
      <p:cViewPr varScale="1">
        <p:scale>
          <a:sx n="88" d="100"/>
          <a:sy n="88" d="100"/>
        </p:scale>
        <p:origin x="3872" y="192"/>
      </p:cViewPr>
      <p:guideLst/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8CD2C08-64BB-4E1E-9AE3-A707EA15258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FA214A3-0CF3-48CE-A7AA-2C6072EFC2C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C4539F0-EF17-4135-960C-B5441AD7BE8D}" type="datetimeFigureOut">
              <a:rPr lang="en-US" smtClean="0">
                <a:latin typeface="Arial" panose="020B0604020202020204" pitchFamily="34" charset="0"/>
              </a:rPr>
              <a:t>2/18/21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0EEABF4-B62E-4F4F-AB38-0965844738D2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FACEAE8-DD4E-4FDF-9268-718B6A686AE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E8B446E-4F07-403E-BF41-B7B29C8CA48C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013457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E47DA482-11F4-4714-A1C7-9A90733BADE9}" type="datetimeFigureOut">
              <a:rPr lang="en-US" smtClean="0"/>
              <a:pPr/>
              <a:t>2/18/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DD076295-620E-4F3C-95A6-6AFF0D3A933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51082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D076295-620E-4F3C-95A6-6AFF0D3A9339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83217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18.xml"/><Relationship Id="rId13" Type="http://schemas.openxmlformats.org/officeDocument/2006/relationships/oleObject" Target="../embeddings/oleObject6.bin"/><Relationship Id="rId18" Type="http://schemas.openxmlformats.org/officeDocument/2006/relationships/oleObject" Target="../embeddings/oleObject10.bin"/><Relationship Id="rId3" Type="http://schemas.openxmlformats.org/officeDocument/2006/relationships/tags" Target="../tags/tag13.xml"/><Relationship Id="rId7" Type="http://schemas.openxmlformats.org/officeDocument/2006/relationships/tags" Target="../tags/tag17.xml"/><Relationship Id="rId12" Type="http://schemas.openxmlformats.org/officeDocument/2006/relationships/slideMaster" Target="../slideMasters/slideMaster1.xml"/><Relationship Id="rId17" Type="http://schemas.openxmlformats.org/officeDocument/2006/relationships/oleObject" Target="../embeddings/oleObject9.bin"/><Relationship Id="rId2" Type="http://schemas.openxmlformats.org/officeDocument/2006/relationships/tags" Target="../tags/tag12.xml"/><Relationship Id="rId16" Type="http://schemas.openxmlformats.org/officeDocument/2006/relationships/oleObject" Target="../embeddings/oleObject8.bin"/><Relationship Id="rId1" Type="http://schemas.openxmlformats.org/officeDocument/2006/relationships/vmlDrawing" Target="../drawings/vmlDrawing2.vml"/><Relationship Id="rId6" Type="http://schemas.openxmlformats.org/officeDocument/2006/relationships/tags" Target="../tags/tag16.xml"/><Relationship Id="rId11" Type="http://schemas.openxmlformats.org/officeDocument/2006/relationships/tags" Target="../tags/tag21.xml"/><Relationship Id="rId5" Type="http://schemas.openxmlformats.org/officeDocument/2006/relationships/tags" Target="../tags/tag15.xml"/><Relationship Id="rId15" Type="http://schemas.openxmlformats.org/officeDocument/2006/relationships/oleObject" Target="../embeddings/oleObject7.bin"/><Relationship Id="rId10" Type="http://schemas.openxmlformats.org/officeDocument/2006/relationships/tags" Target="../tags/tag20.xml"/><Relationship Id="rId4" Type="http://schemas.openxmlformats.org/officeDocument/2006/relationships/tags" Target="../tags/tag14.xml"/><Relationship Id="rId9" Type="http://schemas.openxmlformats.org/officeDocument/2006/relationships/tags" Target="../tags/tag19.xml"/><Relationship Id="rId1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CC66C825-29CF-422B-9BFE-ABCFF6F030BD}"/>
              </a:ext>
            </a:extLst>
          </p:cNvPr>
          <p:cNvGrpSpPr/>
          <p:nvPr/>
        </p:nvGrpSpPr>
        <p:grpSpPr>
          <a:xfrm>
            <a:off x="1" y="1588"/>
            <a:ext cx="5521325" cy="6856412"/>
            <a:chOff x="1" y="1588"/>
            <a:chExt cx="5521325" cy="6856412"/>
          </a:xfrm>
        </p:grpSpPr>
        <p:sp>
          <p:nvSpPr>
            <p:cNvPr id="4" name="Freeform 5">
              <a:extLst>
                <a:ext uri="{FF2B5EF4-FFF2-40B4-BE49-F238E27FC236}">
                  <a16:creationId xmlns:a16="http://schemas.microsoft.com/office/drawing/2014/main" id="{4635222D-0315-4783-96D6-E690679D74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" y="1588"/>
              <a:ext cx="5172075" cy="6856412"/>
            </a:xfrm>
            <a:custGeom>
              <a:avLst/>
              <a:gdLst>
                <a:gd name="T0" fmla="*/ 0 w 3258"/>
                <a:gd name="T1" fmla="*/ 0 h 4319"/>
                <a:gd name="T2" fmla="*/ 1739 w 3258"/>
                <a:gd name="T3" fmla="*/ 0 h 4319"/>
                <a:gd name="T4" fmla="*/ 2581 w 3258"/>
                <a:gd name="T5" fmla="*/ 699 h 4319"/>
                <a:gd name="T6" fmla="*/ 3258 w 3258"/>
                <a:gd name="T7" fmla="*/ 1888 h 4319"/>
                <a:gd name="T8" fmla="*/ 2643 w 3258"/>
                <a:gd name="T9" fmla="*/ 4319 h 4319"/>
                <a:gd name="T10" fmla="*/ 0 w 3258"/>
                <a:gd name="T11" fmla="*/ 4319 h 4319"/>
                <a:gd name="T12" fmla="*/ 0 w 3258"/>
                <a:gd name="T13" fmla="*/ 0 h 4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58" h="4319">
                  <a:moveTo>
                    <a:pt x="0" y="0"/>
                  </a:moveTo>
                  <a:lnTo>
                    <a:pt x="1739" y="0"/>
                  </a:lnTo>
                  <a:lnTo>
                    <a:pt x="2581" y="699"/>
                  </a:lnTo>
                  <a:lnTo>
                    <a:pt x="3258" y="1888"/>
                  </a:lnTo>
                  <a:lnTo>
                    <a:pt x="2643" y="4319"/>
                  </a:lnTo>
                  <a:lnTo>
                    <a:pt x="0" y="431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C20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" name="Freeform 6">
              <a:extLst>
                <a:ext uri="{FF2B5EF4-FFF2-40B4-BE49-F238E27FC236}">
                  <a16:creationId xmlns:a16="http://schemas.microsoft.com/office/drawing/2014/main" id="{D5F6BC5B-6F1D-4B20-9A7D-BB5D8783B359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0663" y="1588"/>
              <a:ext cx="1336675" cy="1109662"/>
            </a:xfrm>
            <a:custGeom>
              <a:avLst/>
              <a:gdLst>
                <a:gd name="T0" fmla="*/ 842 w 842"/>
                <a:gd name="T1" fmla="*/ 699 h 699"/>
                <a:gd name="T2" fmla="*/ 443 w 842"/>
                <a:gd name="T3" fmla="*/ 0 h 699"/>
                <a:gd name="T4" fmla="*/ 0 w 842"/>
                <a:gd name="T5" fmla="*/ 0 h 699"/>
                <a:gd name="T6" fmla="*/ 842 w 842"/>
                <a:gd name="T7" fmla="*/ 699 h 6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42" h="699">
                  <a:moveTo>
                    <a:pt x="842" y="699"/>
                  </a:moveTo>
                  <a:lnTo>
                    <a:pt x="443" y="0"/>
                  </a:lnTo>
                  <a:lnTo>
                    <a:pt x="0" y="0"/>
                  </a:lnTo>
                  <a:lnTo>
                    <a:pt x="842" y="699"/>
                  </a:lnTo>
                  <a:close/>
                </a:path>
              </a:pathLst>
            </a:custGeom>
            <a:solidFill>
              <a:srgbClr val="F9AC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" name="Freeform 7">
              <a:extLst>
                <a:ext uri="{FF2B5EF4-FFF2-40B4-BE49-F238E27FC236}">
                  <a16:creationId xmlns:a16="http://schemas.microsoft.com/office/drawing/2014/main" id="{81AE8D94-B6B9-44B3-B158-8DD8BD7358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9412" y="1588"/>
              <a:ext cx="1306513" cy="1670050"/>
            </a:xfrm>
            <a:custGeom>
              <a:avLst/>
              <a:gdLst>
                <a:gd name="T0" fmla="*/ 0 w 823"/>
                <a:gd name="T1" fmla="*/ 0 h 1052"/>
                <a:gd name="T2" fmla="*/ 399 w 823"/>
                <a:gd name="T3" fmla="*/ 699 h 1052"/>
                <a:gd name="T4" fmla="*/ 823 w 823"/>
                <a:gd name="T5" fmla="*/ 1052 h 1052"/>
                <a:gd name="T6" fmla="*/ 531 w 823"/>
                <a:gd name="T7" fmla="*/ 0 h 1052"/>
                <a:gd name="T8" fmla="*/ 0 w 823"/>
                <a:gd name="T9" fmla="*/ 0 h 10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23" h="1052">
                  <a:moveTo>
                    <a:pt x="0" y="0"/>
                  </a:moveTo>
                  <a:lnTo>
                    <a:pt x="399" y="699"/>
                  </a:lnTo>
                  <a:lnTo>
                    <a:pt x="823" y="1052"/>
                  </a:lnTo>
                  <a:lnTo>
                    <a:pt x="53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47D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Freeform 8">
              <a:extLst>
                <a:ext uri="{FF2B5EF4-FFF2-40B4-BE49-F238E27FC236}">
                  <a16:creationId xmlns:a16="http://schemas.microsoft.com/office/drawing/2014/main" id="{E47811C8-8003-46E0-91ED-FA505E768AB2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7338" y="1111250"/>
              <a:ext cx="1009650" cy="1774825"/>
            </a:xfrm>
            <a:custGeom>
              <a:avLst/>
              <a:gdLst>
                <a:gd name="T0" fmla="*/ 424 w 636"/>
                <a:gd name="T1" fmla="*/ 353 h 1118"/>
                <a:gd name="T2" fmla="*/ 0 w 636"/>
                <a:gd name="T3" fmla="*/ 0 h 1118"/>
                <a:gd name="T4" fmla="*/ 636 w 636"/>
                <a:gd name="T5" fmla="*/ 1118 h 1118"/>
                <a:gd name="T6" fmla="*/ 424 w 636"/>
                <a:gd name="T7" fmla="*/ 353 h 1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36" h="1118">
                  <a:moveTo>
                    <a:pt x="424" y="353"/>
                  </a:moveTo>
                  <a:lnTo>
                    <a:pt x="0" y="0"/>
                  </a:lnTo>
                  <a:lnTo>
                    <a:pt x="636" y="1118"/>
                  </a:lnTo>
                  <a:lnTo>
                    <a:pt x="424" y="353"/>
                  </a:lnTo>
                  <a:close/>
                </a:path>
              </a:pathLst>
            </a:custGeom>
            <a:solidFill>
              <a:srgbClr val="F155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" name="Freeform 9">
              <a:extLst>
                <a:ext uri="{FF2B5EF4-FFF2-40B4-BE49-F238E27FC236}">
                  <a16:creationId xmlns:a16="http://schemas.microsoft.com/office/drawing/2014/main" id="{AED6DD98-B107-4A15-8DD3-981C6FC93B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0438" y="1671638"/>
              <a:ext cx="750888" cy="1327150"/>
            </a:xfrm>
            <a:custGeom>
              <a:avLst/>
              <a:gdLst>
                <a:gd name="T0" fmla="*/ 0 w 473"/>
                <a:gd name="T1" fmla="*/ 0 h 836"/>
                <a:gd name="T2" fmla="*/ 212 w 473"/>
                <a:gd name="T3" fmla="*/ 765 h 836"/>
                <a:gd name="T4" fmla="*/ 253 w 473"/>
                <a:gd name="T5" fmla="*/ 836 h 836"/>
                <a:gd name="T6" fmla="*/ 473 w 473"/>
                <a:gd name="T7" fmla="*/ 393 h 836"/>
                <a:gd name="T8" fmla="*/ 0 w 473"/>
                <a:gd name="T9" fmla="*/ 0 h 8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3" h="836">
                  <a:moveTo>
                    <a:pt x="0" y="0"/>
                  </a:moveTo>
                  <a:lnTo>
                    <a:pt x="212" y="765"/>
                  </a:lnTo>
                  <a:lnTo>
                    <a:pt x="253" y="836"/>
                  </a:lnTo>
                  <a:lnTo>
                    <a:pt x="473" y="39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9AC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10">
              <a:extLst>
                <a:ext uri="{FF2B5EF4-FFF2-40B4-BE49-F238E27FC236}">
                  <a16:creationId xmlns:a16="http://schemas.microsoft.com/office/drawing/2014/main" id="{B8D85966-5373-4D66-B1BA-96D52CE14BD8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9701" y="3040063"/>
              <a:ext cx="1412875" cy="2417762"/>
            </a:xfrm>
            <a:custGeom>
              <a:avLst/>
              <a:gdLst>
                <a:gd name="T0" fmla="*/ 756 w 890"/>
                <a:gd name="T1" fmla="*/ 0 h 1523"/>
                <a:gd name="T2" fmla="*/ 0 w 890"/>
                <a:gd name="T3" fmla="*/ 1523 h 1523"/>
                <a:gd name="T4" fmla="*/ 890 w 890"/>
                <a:gd name="T5" fmla="*/ 477 h 1523"/>
                <a:gd name="T6" fmla="*/ 756 w 890"/>
                <a:gd name="T7" fmla="*/ 0 h 1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90" h="1523">
                  <a:moveTo>
                    <a:pt x="756" y="0"/>
                  </a:moveTo>
                  <a:lnTo>
                    <a:pt x="0" y="1523"/>
                  </a:lnTo>
                  <a:lnTo>
                    <a:pt x="890" y="477"/>
                  </a:lnTo>
                  <a:lnTo>
                    <a:pt x="756" y="0"/>
                  </a:lnTo>
                  <a:close/>
                </a:path>
              </a:pathLst>
            </a:custGeom>
            <a:solidFill>
              <a:srgbClr val="F155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11">
              <a:extLst>
                <a:ext uri="{FF2B5EF4-FFF2-40B4-BE49-F238E27FC236}">
                  <a16:creationId xmlns:a16="http://schemas.microsoft.com/office/drawing/2014/main" id="{18D062D2-0195-437C-8BB7-AE8380543B4E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9093" y="2998788"/>
              <a:ext cx="371475" cy="798512"/>
            </a:xfrm>
            <a:custGeom>
              <a:avLst/>
              <a:gdLst>
                <a:gd name="T0" fmla="*/ 0 w 234"/>
                <a:gd name="T1" fmla="*/ 26 h 503"/>
                <a:gd name="T2" fmla="*/ 134 w 234"/>
                <a:gd name="T3" fmla="*/ 503 h 503"/>
                <a:gd name="T4" fmla="*/ 234 w 234"/>
                <a:gd name="T5" fmla="*/ 386 h 503"/>
                <a:gd name="T6" fmla="*/ 14 w 234"/>
                <a:gd name="T7" fmla="*/ 0 h 503"/>
                <a:gd name="T8" fmla="*/ 0 w 234"/>
                <a:gd name="T9" fmla="*/ 26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4" h="503">
                  <a:moveTo>
                    <a:pt x="0" y="26"/>
                  </a:moveTo>
                  <a:lnTo>
                    <a:pt x="134" y="503"/>
                  </a:lnTo>
                  <a:lnTo>
                    <a:pt x="234" y="386"/>
                  </a:lnTo>
                  <a:lnTo>
                    <a:pt x="14" y="0"/>
                  </a:lnTo>
                  <a:lnTo>
                    <a:pt x="0" y="26"/>
                  </a:lnTo>
                  <a:close/>
                </a:path>
              </a:pathLst>
            </a:custGeom>
            <a:solidFill>
              <a:srgbClr val="D025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12">
              <a:extLst>
                <a:ext uri="{FF2B5EF4-FFF2-40B4-BE49-F238E27FC236}">
                  <a16:creationId xmlns:a16="http://schemas.microsoft.com/office/drawing/2014/main" id="{C5EE8B3A-CADD-49C2-9403-07D1EBAD0A94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4376" y="3797300"/>
              <a:ext cx="2266950" cy="3060700"/>
            </a:xfrm>
            <a:custGeom>
              <a:avLst/>
              <a:gdLst>
                <a:gd name="T0" fmla="*/ 1328 w 1428"/>
                <a:gd name="T1" fmla="*/ 0 h 1928"/>
                <a:gd name="T2" fmla="*/ 438 w 1428"/>
                <a:gd name="T3" fmla="*/ 1046 h 1928"/>
                <a:gd name="T4" fmla="*/ 0 w 1428"/>
                <a:gd name="T5" fmla="*/ 1928 h 1928"/>
                <a:gd name="T6" fmla="*/ 593 w 1428"/>
                <a:gd name="T7" fmla="*/ 1928 h 1928"/>
                <a:gd name="T8" fmla="*/ 1428 w 1428"/>
                <a:gd name="T9" fmla="*/ 363 h 1928"/>
                <a:gd name="T10" fmla="*/ 1328 w 1428"/>
                <a:gd name="T11" fmla="*/ 0 h 19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28" h="1928">
                  <a:moveTo>
                    <a:pt x="1328" y="0"/>
                  </a:moveTo>
                  <a:lnTo>
                    <a:pt x="438" y="1046"/>
                  </a:lnTo>
                  <a:lnTo>
                    <a:pt x="0" y="1928"/>
                  </a:lnTo>
                  <a:lnTo>
                    <a:pt x="593" y="1928"/>
                  </a:lnTo>
                  <a:lnTo>
                    <a:pt x="1428" y="363"/>
                  </a:lnTo>
                  <a:lnTo>
                    <a:pt x="1328" y="0"/>
                  </a:lnTo>
                  <a:close/>
                </a:path>
              </a:pathLst>
            </a:custGeom>
            <a:solidFill>
              <a:srgbClr val="931A1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13">
              <a:extLst>
                <a:ext uri="{FF2B5EF4-FFF2-40B4-BE49-F238E27FC236}">
                  <a16:creationId xmlns:a16="http://schemas.microsoft.com/office/drawing/2014/main" id="{F98BA4DA-1EF5-42FB-AFCF-0A022574E8B6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0663" y="5457825"/>
              <a:ext cx="1189038" cy="1400175"/>
            </a:xfrm>
            <a:custGeom>
              <a:avLst/>
              <a:gdLst>
                <a:gd name="T0" fmla="*/ 311 w 749"/>
                <a:gd name="T1" fmla="*/ 882 h 882"/>
                <a:gd name="T2" fmla="*/ 749 w 749"/>
                <a:gd name="T3" fmla="*/ 0 h 882"/>
                <a:gd name="T4" fmla="*/ 0 w 749"/>
                <a:gd name="T5" fmla="*/ 882 h 882"/>
                <a:gd name="T6" fmla="*/ 311 w 749"/>
                <a:gd name="T7" fmla="*/ 882 h 8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49" h="882">
                  <a:moveTo>
                    <a:pt x="311" y="882"/>
                  </a:moveTo>
                  <a:lnTo>
                    <a:pt x="749" y="0"/>
                  </a:lnTo>
                  <a:lnTo>
                    <a:pt x="0" y="882"/>
                  </a:lnTo>
                  <a:lnTo>
                    <a:pt x="311" y="882"/>
                  </a:lnTo>
                  <a:close/>
                </a:path>
              </a:pathLst>
            </a:custGeom>
            <a:solidFill>
              <a:srgbClr val="F47D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7CFEFF7C-FC8E-4E69-9F52-660BCFDAC4D1}"/>
              </a:ext>
            </a:extLst>
          </p:cNvPr>
          <p:cNvGrpSpPr>
            <a:grpSpLocks/>
          </p:cNvGrpSpPr>
          <p:nvPr/>
        </p:nvGrpSpPr>
        <p:grpSpPr>
          <a:xfrm>
            <a:off x="6253390" y="1378143"/>
            <a:ext cx="2445002" cy="586989"/>
            <a:chOff x="4124325" y="4591050"/>
            <a:chExt cx="2479675" cy="595313"/>
          </a:xfrm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83154726-4EE4-47ED-A212-50F7CAB11B26}"/>
                </a:ext>
              </a:extLst>
            </p:cNvPr>
            <p:cNvGrpSpPr/>
            <p:nvPr/>
          </p:nvGrpSpPr>
          <p:grpSpPr>
            <a:xfrm>
              <a:off x="4124325" y="4591050"/>
              <a:ext cx="460375" cy="595313"/>
              <a:chOff x="4124325" y="4591050"/>
              <a:chExt cx="460375" cy="595313"/>
            </a:xfrm>
          </p:grpSpPr>
          <p:sp>
            <p:nvSpPr>
              <p:cNvPr id="16" name="Freeform 25">
                <a:extLst>
                  <a:ext uri="{FF2B5EF4-FFF2-40B4-BE49-F238E27FC236}">
                    <a16:creationId xmlns:a16="http://schemas.microsoft.com/office/drawing/2014/main" id="{FBC573F0-0275-4D44-B3FE-D08A0F184F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4325" y="4983163"/>
                <a:ext cx="457200" cy="203200"/>
              </a:xfrm>
              <a:custGeom>
                <a:avLst/>
                <a:gdLst>
                  <a:gd name="T0" fmla="*/ 143 w 288"/>
                  <a:gd name="T1" fmla="*/ 66 h 128"/>
                  <a:gd name="T2" fmla="*/ 228 w 288"/>
                  <a:gd name="T3" fmla="*/ 23 h 128"/>
                  <a:gd name="T4" fmla="*/ 283 w 288"/>
                  <a:gd name="T5" fmla="*/ 0 h 128"/>
                  <a:gd name="T6" fmla="*/ 288 w 288"/>
                  <a:gd name="T7" fmla="*/ 3 h 128"/>
                  <a:gd name="T8" fmla="*/ 283 w 288"/>
                  <a:gd name="T9" fmla="*/ 62 h 128"/>
                  <a:gd name="T10" fmla="*/ 156 w 288"/>
                  <a:gd name="T11" fmla="*/ 128 h 128"/>
                  <a:gd name="T12" fmla="*/ 131 w 288"/>
                  <a:gd name="T13" fmla="*/ 128 h 128"/>
                  <a:gd name="T14" fmla="*/ 4 w 288"/>
                  <a:gd name="T15" fmla="*/ 62 h 128"/>
                  <a:gd name="T16" fmla="*/ 0 w 288"/>
                  <a:gd name="T17" fmla="*/ 3 h 128"/>
                  <a:gd name="T18" fmla="*/ 4 w 288"/>
                  <a:gd name="T19" fmla="*/ 0 h 128"/>
                  <a:gd name="T20" fmla="*/ 59 w 288"/>
                  <a:gd name="T21" fmla="*/ 23 h 128"/>
                  <a:gd name="T22" fmla="*/ 143 w 288"/>
                  <a:gd name="T23" fmla="*/ 66 h 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88" h="128">
                    <a:moveTo>
                      <a:pt x="143" y="66"/>
                    </a:moveTo>
                    <a:lnTo>
                      <a:pt x="228" y="23"/>
                    </a:lnTo>
                    <a:lnTo>
                      <a:pt x="283" y="0"/>
                    </a:lnTo>
                    <a:lnTo>
                      <a:pt x="288" y="3"/>
                    </a:lnTo>
                    <a:lnTo>
                      <a:pt x="283" y="62"/>
                    </a:lnTo>
                    <a:lnTo>
                      <a:pt x="156" y="128"/>
                    </a:lnTo>
                    <a:lnTo>
                      <a:pt x="131" y="128"/>
                    </a:lnTo>
                    <a:lnTo>
                      <a:pt x="4" y="62"/>
                    </a:lnTo>
                    <a:lnTo>
                      <a:pt x="0" y="3"/>
                    </a:lnTo>
                    <a:lnTo>
                      <a:pt x="4" y="0"/>
                    </a:lnTo>
                    <a:lnTo>
                      <a:pt x="59" y="23"/>
                    </a:lnTo>
                    <a:lnTo>
                      <a:pt x="143" y="66"/>
                    </a:lnTo>
                    <a:close/>
                  </a:path>
                </a:pathLst>
              </a:custGeom>
              <a:solidFill>
                <a:srgbClr val="F155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Freeform 26">
                <a:extLst>
                  <a:ext uri="{FF2B5EF4-FFF2-40B4-BE49-F238E27FC236}">
                    <a16:creationId xmlns:a16="http://schemas.microsoft.com/office/drawing/2014/main" id="{D6F1A854-E92E-48CA-ADAD-585911B0CE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4325" y="4689475"/>
                <a:ext cx="457200" cy="403225"/>
              </a:xfrm>
              <a:custGeom>
                <a:avLst/>
                <a:gdLst>
                  <a:gd name="T0" fmla="*/ 288 w 288"/>
                  <a:gd name="T1" fmla="*/ 188 h 254"/>
                  <a:gd name="T2" fmla="*/ 283 w 288"/>
                  <a:gd name="T3" fmla="*/ 247 h 254"/>
                  <a:gd name="T4" fmla="*/ 270 w 288"/>
                  <a:gd name="T5" fmla="*/ 254 h 254"/>
                  <a:gd name="T6" fmla="*/ 0 w 288"/>
                  <a:gd name="T7" fmla="*/ 17 h 254"/>
                  <a:gd name="T8" fmla="*/ 0 w 288"/>
                  <a:gd name="T9" fmla="*/ 11 h 254"/>
                  <a:gd name="T10" fmla="*/ 72 w 288"/>
                  <a:gd name="T11" fmla="*/ 0 h 254"/>
                  <a:gd name="T12" fmla="*/ 288 w 288"/>
                  <a:gd name="T13" fmla="*/ 188 h 2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8" h="254">
                    <a:moveTo>
                      <a:pt x="288" y="188"/>
                    </a:moveTo>
                    <a:lnTo>
                      <a:pt x="283" y="247"/>
                    </a:lnTo>
                    <a:lnTo>
                      <a:pt x="270" y="254"/>
                    </a:lnTo>
                    <a:lnTo>
                      <a:pt x="0" y="17"/>
                    </a:lnTo>
                    <a:lnTo>
                      <a:pt x="0" y="11"/>
                    </a:lnTo>
                    <a:lnTo>
                      <a:pt x="72" y="0"/>
                    </a:lnTo>
                    <a:lnTo>
                      <a:pt x="288" y="188"/>
                    </a:lnTo>
                    <a:close/>
                  </a:path>
                </a:pathLst>
              </a:custGeom>
              <a:solidFill>
                <a:srgbClr val="BC202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Freeform 27">
                <a:extLst>
                  <a:ext uri="{FF2B5EF4-FFF2-40B4-BE49-F238E27FC236}">
                    <a16:creationId xmlns:a16="http://schemas.microsoft.com/office/drawing/2014/main" id="{B27D6C3A-FC76-42D5-BEB4-A0761B45A8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4325" y="4867275"/>
                <a:ext cx="209550" cy="225425"/>
              </a:xfrm>
              <a:custGeom>
                <a:avLst/>
                <a:gdLst>
                  <a:gd name="T0" fmla="*/ 17 w 132"/>
                  <a:gd name="T1" fmla="*/ 142 h 142"/>
                  <a:gd name="T2" fmla="*/ 4 w 132"/>
                  <a:gd name="T3" fmla="*/ 135 h 142"/>
                  <a:gd name="T4" fmla="*/ 0 w 132"/>
                  <a:gd name="T5" fmla="*/ 76 h 142"/>
                  <a:gd name="T6" fmla="*/ 86 w 132"/>
                  <a:gd name="T7" fmla="*/ 0 h 142"/>
                  <a:gd name="T8" fmla="*/ 132 w 132"/>
                  <a:gd name="T9" fmla="*/ 41 h 142"/>
                  <a:gd name="T10" fmla="*/ 17 w 132"/>
                  <a:gd name="T11" fmla="*/ 142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2" h="142">
                    <a:moveTo>
                      <a:pt x="17" y="142"/>
                    </a:moveTo>
                    <a:lnTo>
                      <a:pt x="4" y="135"/>
                    </a:lnTo>
                    <a:lnTo>
                      <a:pt x="0" y="76"/>
                    </a:lnTo>
                    <a:lnTo>
                      <a:pt x="86" y="0"/>
                    </a:lnTo>
                    <a:lnTo>
                      <a:pt x="132" y="41"/>
                    </a:lnTo>
                    <a:lnTo>
                      <a:pt x="17" y="142"/>
                    </a:lnTo>
                    <a:close/>
                  </a:path>
                </a:pathLst>
              </a:custGeom>
              <a:solidFill>
                <a:srgbClr val="931A1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Freeform 28">
                <a:extLst>
                  <a:ext uri="{FF2B5EF4-FFF2-40B4-BE49-F238E27FC236}">
                    <a16:creationId xmlns:a16="http://schemas.microsoft.com/office/drawing/2014/main" id="{D9ECE05A-6B6C-47CA-93CA-AA9BA2885C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4325" y="4591050"/>
                <a:ext cx="381000" cy="130175"/>
              </a:xfrm>
              <a:custGeom>
                <a:avLst/>
                <a:gdLst>
                  <a:gd name="T0" fmla="*/ 143 w 240"/>
                  <a:gd name="T1" fmla="*/ 60 h 82"/>
                  <a:gd name="T2" fmla="*/ 3 w 240"/>
                  <a:gd name="T3" fmla="*/ 82 h 82"/>
                  <a:gd name="T4" fmla="*/ 0 w 240"/>
                  <a:gd name="T5" fmla="*/ 79 h 82"/>
                  <a:gd name="T6" fmla="*/ 4 w 240"/>
                  <a:gd name="T7" fmla="*/ 21 h 82"/>
                  <a:gd name="T8" fmla="*/ 139 w 240"/>
                  <a:gd name="T9" fmla="*/ 0 h 82"/>
                  <a:gd name="T10" fmla="*/ 147 w 240"/>
                  <a:gd name="T11" fmla="*/ 0 h 82"/>
                  <a:gd name="T12" fmla="*/ 240 w 240"/>
                  <a:gd name="T13" fmla="*/ 14 h 82"/>
                  <a:gd name="T14" fmla="*/ 240 w 240"/>
                  <a:gd name="T15" fmla="*/ 76 h 82"/>
                  <a:gd name="T16" fmla="*/ 143 w 240"/>
                  <a:gd name="T17" fmla="*/ 60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40" h="82">
                    <a:moveTo>
                      <a:pt x="143" y="60"/>
                    </a:moveTo>
                    <a:lnTo>
                      <a:pt x="3" y="82"/>
                    </a:lnTo>
                    <a:lnTo>
                      <a:pt x="0" y="79"/>
                    </a:lnTo>
                    <a:lnTo>
                      <a:pt x="4" y="21"/>
                    </a:lnTo>
                    <a:lnTo>
                      <a:pt x="139" y="0"/>
                    </a:lnTo>
                    <a:lnTo>
                      <a:pt x="147" y="0"/>
                    </a:lnTo>
                    <a:lnTo>
                      <a:pt x="240" y="14"/>
                    </a:lnTo>
                    <a:lnTo>
                      <a:pt x="240" y="76"/>
                    </a:lnTo>
                    <a:lnTo>
                      <a:pt x="143" y="60"/>
                    </a:lnTo>
                    <a:close/>
                  </a:path>
                </a:pathLst>
              </a:custGeom>
              <a:solidFill>
                <a:srgbClr val="F47D6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Freeform 29">
                <a:extLst>
                  <a:ext uri="{FF2B5EF4-FFF2-40B4-BE49-F238E27FC236}">
                    <a16:creationId xmlns:a16="http://schemas.microsoft.com/office/drawing/2014/main" id="{4917CDE8-FDCC-43E0-86B9-E34AEB4793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89450" y="4610100"/>
                <a:ext cx="95250" cy="207962"/>
              </a:xfrm>
              <a:custGeom>
                <a:avLst/>
                <a:gdLst>
                  <a:gd name="T0" fmla="*/ 0 w 60"/>
                  <a:gd name="T1" fmla="*/ 131 h 131"/>
                  <a:gd name="T2" fmla="*/ 0 w 60"/>
                  <a:gd name="T3" fmla="*/ 0 h 131"/>
                  <a:gd name="T4" fmla="*/ 37 w 60"/>
                  <a:gd name="T5" fmla="*/ 6 h 131"/>
                  <a:gd name="T6" fmla="*/ 60 w 60"/>
                  <a:gd name="T7" fmla="*/ 34 h 131"/>
                  <a:gd name="T8" fmla="*/ 60 w 60"/>
                  <a:gd name="T9" fmla="*/ 106 h 131"/>
                  <a:gd name="T10" fmla="*/ 0 w 60"/>
                  <a:gd name="T11" fmla="*/ 131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0" h="131">
                    <a:moveTo>
                      <a:pt x="0" y="131"/>
                    </a:moveTo>
                    <a:lnTo>
                      <a:pt x="0" y="0"/>
                    </a:lnTo>
                    <a:lnTo>
                      <a:pt x="37" y="6"/>
                    </a:lnTo>
                    <a:lnTo>
                      <a:pt x="60" y="34"/>
                    </a:lnTo>
                    <a:lnTo>
                      <a:pt x="60" y="106"/>
                    </a:lnTo>
                    <a:lnTo>
                      <a:pt x="0" y="131"/>
                    </a:lnTo>
                    <a:close/>
                  </a:path>
                </a:pathLst>
              </a:custGeom>
              <a:solidFill>
                <a:srgbClr val="F9AC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Freeform 30">
                <a:extLst>
                  <a:ext uri="{FF2B5EF4-FFF2-40B4-BE49-F238E27FC236}">
                    <a16:creationId xmlns:a16="http://schemas.microsoft.com/office/drawing/2014/main" id="{D61F04B0-0841-41C9-B561-3CA1B1AF6B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65638" y="4606925"/>
                <a:ext cx="23812" cy="100012"/>
              </a:xfrm>
              <a:custGeom>
                <a:avLst/>
                <a:gdLst>
                  <a:gd name="T0" fmla="*/ 0 w 15"/>
                  <a:gd name="T1" fmla="*/ 61 h 63"/>
                  <a:gd name="T2" fmla="*/ 15 w 15"/>
                  <a:gd name="T3" fmla="*/ 63 h 63"/>
                  <a:gd name="T4" fmla="*/ 15 w 15"/>
                  <a:gd name="T5" fmla="*/ 2 h 63"/>
                  <a:gd name="T6" fmla="*/ 0 w 15"/>
                  <a:gd name="T7" fmla="*/ 0 h 63"/>
                  <a:gd name="T8" fmla="*/ 0 w 15"/>
                  <a:gd name="T9" fmla="*/ 61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63">
                    <a:moveTo>
                      <a:pt x="0" y="61"/>
                    </a:moveTo>
                    <a:lnTo>
                      <a:pt x="15" y="63"/>
                    </a:lnTo>
                    <a:lnTo>
                      <a:pt x="15" y="2"/>
                    </a:lnTo>
                    <a:lnTo>
                      <a:pt x="0" y="0"/>
                    </a:lnTo>
                    <a:lnTo>
                      <a:pt x="0" y="61"/>
                    </a:lnTo>
                    <a:close/>
                  </a:path>
                </a:pathLst>
              </a:custGeom>
              <a:solidFill>
                <a:srgbClr val="F155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Freeform 31">
                <a:extLst>
                  <a:ext uri="{FF2B5EF4-FFF2-40B4-BE49-F238E27FC236}">
                    <a16:creationId xmlns:a16="http://schemas.microsoft.com/office/drawing/2014/main" id="{9928F9A3-D252-4C81-BABE-2441EBCA55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9088" y="4702175"/>
                <a:ext cx="147637" cy="39687"/>
              </a:xfrm>
              <a:custGeom>
                <a:avLst/>
                <a:gdLst>
                  <a:gd name="T0" fmla="*/ 15 w 93"/>
                  <a:gd name="T1" fmla="*/ 25 h 25"/>
                  <a:gd name="T2" fmla="*/ 93 w 93"/>
                  <a:gd name="T3" fmla="*/ 13 h 25"/>
                  <a:gd name="T4" fmla="*/ 78 w 93"/>
                  <a:gd name="T5" fmla="*/ 0 h 25"/>
                  <a:gd name="T6" fmla="*/ 0 w 93"/>
                  <a:gd name="T7" fmla="*/ 12 h 25"/>
                  <a:gd name="T8" fmla="*/ 15 w 93"/>
                  <a:gd name="T9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3" h="25">
                    <a:moveTo>
                      <a:pt x="15" y="25"/>
                    </a:moveTo>
                    <a:lnTo>
                      <a:pt x="93" y="13"/>
                    </a:lnTo>
                    <a:lnTo>
                      <a:pt x="78" y="0"/>
                    </a:lnTo>
                    <a:lnTo>
                      <a:pt x="0" y="12"/>
                    </a:lnTo>
                    <a:lnTo>
                      <a:pt x="15" y="25"/>
                    </a:lnTo>
                    <a:close/>
                  </a:path>
                </a:pathLst>
              </a:custGeom>
              <a:solidFill>
                <a:srgbClr val="931A1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Freeform 32">
                <a:extLst>
                  <a:ext uri="{FF2B5EF4-FFF2-40B4-BE49-F238E27FC236}">
                    <a16:creationId xmlns:a16="http://schemas.microsoft.com/office/drawing/2014/main" id="{F57CFECC-B4AE-48B4-A350-93952ED9EC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52938" y="5022850"/>
                <a:ext cx="100012" cy="79375"/>
              </a:xfrm>
              <a:custGeom>
                <a:avLst/>
                <a:gdLst>
                  <a:gd name="T0" fmla="*/ 63 w 63"/>
                  <a:gd name="T1" fmla="*/ 44 h 50"/>
                  <a:gd name="T2" fmla="*/ 15 w 63"/>
                  <a:gd name="T3" fmla="*/ 0 h 50"/>
                  <a:gd name="T4" fmla="*/ 0 w 63"/>
                  <a:gd name="T5" fmla="*/ 8 h 50"/>
                  <a:gd name="T6" fmla="*/ 49 w 63"/>
                  <a:gd name="T7" fmla="*/ 50 h 50"/>
                  <a:gd name="T8" fmla="*/ 63 w 63"/>
                  <a:gd name="T9" fmla="*/ 44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3" h="50">
                    <a:moveTo>
                      <a:pt x="63" y="44"/>
                    </a:moveTo>
                    <a:lnTo>
                      <a:pt x="15" y="0"/>
                    </a:lnTo>
                    <a:lnTo>
                      <a:pt x="0" y="8"/>
                    </a:lnTo>
                    <a:lnTo>
                      <a:pt x="49" y="50"/>
                    </a:lnTo>
                    <a:lnTo>
                      <a:pt x="63" y="44"/>
                    </a:lnTo>
                    <a:close/>
                  </a:path>
                </a:pathLst>
              </a:custGeom>
              <a:solidFill>
                <a:srgbClr val="D025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Freeform 33">
                <a:extLst>
                  <a:ext uri="{FF2B5EF4-FFF2-40B4-BE49-F238E27FC236}">
                    <a16:creationId xmlns:a16="http://schemas.microsoft.com/office/drawing/2014/main" id="{9FAFEC81-ABB6-4EC4-9D85-9826B23798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51313" y="5022850"/>
                <a:ext cx="100012" cy="79375"/>
              </a:xfrm>
              <a:custGeom>
                <a:avLst/>
                <a:gdLst>
                  <a:gd name="T0" fmla="*/ 0 w 63"/>
                  <a:gd name="T1" fmla="*/ 44 h 50"/>
                  <a:gd name="T2" fmla="*/ 14 w 63"/>
                  <a:gd name="T3" fmla="*/ 50 h 50"/>
                  <a:gd name="T4" fmla="*/ 63 w 63"/>
                  <a:gd name="T5" fmla="*/ 8 h 50"/>
                  <a:gd name="T6" fmla="*/ 48 w 63"/>
                  <a:gd name="T7" fmla="*/ 0 h 50"/>
                  <a:gd name="T8" fmla="*/ 0 w 63"/>
                  <a:gd name="T9" fmla="*/ 44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3" h="50">
                    <a:moveTo>
                      <a:pt x="0" y="44"/>
                    </a:moveTo>
                    <a:lnTo>
                      <a:pt x="14" y="50"/>
                    </a:lnTo>
                    <a:lnTo>
                      <a:pt x="63" y="8"/>
                    </a:lnTo>
                    <a:lnTo>
                      <a:pt x="48" y="0"/>
                    </a:lnTo>
                    <a:lnTo>
                      <a:pt x="0" y="44"/>
                    </a:lnTo>
                    <a:close/>
                  </a:path>
                </a:pathLst>
              </a:custGeom>
              <a:solidFill>
                <a:srgbClr val="D025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5" name="Freeform 34">
              <a:extLst>
                <a:ext uri="{FF2B5EF4-FFF2-40B4-BE49-F238E27FC236}">
                  <a16:creationId xmlns:a16="http://schemas.microsoft.com/office/drawing/2014/main" id="{DBDFE334-6299-4A00-9068-2E49EE089B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73625" y="4746625"/>
              <a:ext cx="1730375" cy="284162"/>
            </a:xfrm>
            <a:custGeom>
              <a:avLst/>
              <a:gdLst>
                <a:gd name="T0" fmla="*/ 1399 w 1571"/>
                <a:gd name="T1" fmla="*/ 170 h 257"/>
                <a:gd name="T2" fmla="*/ 1505 w 1571"/>
                <a:gd name="T3" fmla="*/ 170 h 257"/>
                <a:gd name="T4" fmla="*/ 1471 w 1571"/>
                <a:gd name="T5" fmla="*/ 4 h 257"/>
                <a:gd name="T6" fmla="*/ 1333 w 1571"/>
                <a:gd name="T7" fmla="*/ 252 h 257"/>
                <a:gd name="T8" fmla="*/ 1390 w 1571"/>
                <a:gd name="T9" fmla="*/ 197 h 257"/>
                <a:gd name="T10" fmla="*/ 1536 w 1571"/>
                <a:gd name="T11" fmla="*/ 252 h 257"/>
                <a:gd name="T12" fmla="*/ 1208 w 1571"/>
                <a:gd name="T13" fmla="*/ 252 h 257"/>
                <a:gd name="T14" fmla="*/ 1287 w 1571"/>
                <a:gd name="T15" fmla="*/ 31 h 257"/>
                <a:gd name="T16" fmla="*/ 1098 w 1571"/>
                <a:gd name="T17" fmla="*/ 4 h 257"/>
                <a:gd name="T18" fmla="*/ 1177 w 1571"/>
                <a:gd name="T19" fmla="*/ 31 h 257"/>
                <a:gd name="T20" fmla="*/ 1208 w 1571"/>
                <a:gd name="T21" fmla="*/ 252 h 257"/>
                <a:gd name="T22" fmla="*/ 867 w 1571"/>
                <a:gd name="T23" fmla="*/ 126 h 257"/>
                <a:gd name="T24" fmla="*/ 932 w 1571"/>
                <a:gd name="T25" fmla="*/ 31 h 257"/>
                <a:gd name="T26" fmla="*/ 932 w 1571"/>
                <a:gd name="T27" fmla="*/ 126 h 257"/>
                <a:gd name="T28" fmla="*/ 950 w 1571"/>
                <a:gd name="T29" fmla="*/ 151 h 257"/>
                <a:gd name="T30" fmla="*/ 936 w 1571"/>
                <a:gd name="T31" fmla="*/ 4 h 257"/>
                <a:gd name="T32" fmla="*/ 836 w 1571"/>
                <a:gd name="T33" fmla="*/ 252 h 257"/>
                <a:gd name="T34" fmla="*/ 867 w 1571"/>
                <a:gd name="T35" fmla="*/ 154 h 257"/>
                <a:gd name="T36" fmla="*/ 980 w 1571"/>
                <a:gd name="T37" fmla="*/ 252 h 257"/>
                <a:gd name="T38" fmla="*/ 681 w 1571"/>
                <a:gd name="T39" fmla="*/ 170 h 257"/>
                <a:gd name="T40" fmla="*/ 629 w 1571"/>
                <a:gd name="T41" fmla="*/ 36 h 257"/>
                <a:gd name="T42" fmla="*/ 748 w 1571"/>
                <a:gd name="T43" fmla="*/ 252 h 257"/>
                <a:gd name="T44" fmla="*/ 609 w 1571"/>
                <a:gd name="T45" fmla="*/ 4 h 257"/>
                <a:gd name="T46" fmla="*/ 545 w 1571"/>
                <a:gd name="T47" fmla="*/ 252 h 257"/>
                <a:gd name="T48" fmla="*/ 691 w 1571"/>
                <a:gd name="T49" fmla="*/ 197 h 257"/>
                <a:gd name="T50" fmla="*/ 748 w 1571"/>
                <a:gd name="T51" fmla="*/ 252 h 257"/>
                <a:gd name="T52" fmla="*/ 320 w 1571"/>
                <a:gd name="T53" fmla="*/ 126 h 257"/>
                <a:gd name="T54" fmla="*/ 385 w 1571"/>
                <a:gd name="T55" fmla="*/ 31 h 257"/>
                <a:gd name="T56" fmla="*/ 385 w 1571"/>
                <a:gd name="T57" fmla="*/ 126 h 257"/>
                <a:gd name="T58" fmla="*/ 320 w 1571"/>
                <a:gd name="T59" fmla="*/ 154 h 257"/>
                <a:gd name="T60" fmla="*/ 467 w 1571"/>
                <a:gd name="T61" fmla="*/ 79 h 257"/>
                <a:gd name="T62" fmla="*/ 289 w 1571"/>
                <a:gd name="T63" fmla="*/ 4 h 257"/>
                <a:gd name="T64" fmla="*/ 320 w 1571"/>
                <a:gd name="T65" fmla="*/ 252 h 257"/>
                <a:gd name="T66" fmla="*/ 187 w 1571"/>
                <a:gd name="T67" fmla="*/ 184 h 257"/>
                <a:gd name="T68" fmla="*/ 91 w 1571"/>
                <a:gd name="T69" fmla="*/ 28 h 257"/>
                <a:gd name="T70" fmla="*/ 181 w 1571"/>
                <a:gd name="T71" fmla="*/ 35 h 257"/>
                <a:gd name="T72" fmla="*/ 8 w 1571"/>
                <a:gd name="T73" fmla="*/ 69 h 257"/>
                <a:gd name="T74" fmla="*/ 97 w 1571"/>
                <a:gd name="T75" fmla="*/ 229 h 257"/>
                <a:gd name="T76" fmla="*/ 0 w 1571"/>
                <a:gd name="T77" fmla="*/ 217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571" h="257">
                  <a:moveTo>
                    <a:pt x="1505" y="170"/>
                  </a:moveTo>
                  <a:cubicBezTo>
                    <a:pt x="1399" y="170"/>
                    <a:pt x="1399" y="170"/>
                    <a:pt x="1399" y="170"/>
                  </a:cubicBezTo>
                  <a:cubicBezTo>
                    <a:pt x="1452" y="36"/>
                    <a:pt x="1452" y="36"/>
                    <a:pt x="1452" y="36"/>
                  </a:cubicBezTo>
                  <a:lnTo>
                    <a:pt x="1505" y="170"/>
                  </a:lnTo>
                  <a:close/>
                  <a:moveTo>
                    <a:pt x="1571" y="252"/>
                  </a:moveTo>
                  <a:cubicBezTo>
                    <a:pt x="1471" y="4"/>
                    <a:pt x="1471" y="4"/>
                    <a:pt x="1471" y="4"/>
                  </a:cubicBezTo>
                  <a:cubicBezTo>
                    <a:pt x="1433" y="4"/>
                    <a:pt x="1433" y="4"/>
                    <a:pt x="1433" y="4"/>
                  </a:cubicBezTo>
                  <a:cubicBezTo>
                    <a:pt x="1333" y="252"/>
                    <a:pt x="1333" y="252"/>
                    <a:pt x="1333" y="252"/>
                  </a:cubicBezTo>
                  <a:cubicBezTo>
                    <a:pt x="1368" y="252"/>
                    <a:pt x="1368" y="252"/>
                    <a:pt x="1368" y="252"/>
                  </a:cubicBezTo>
                  <a:cubicBezTo>
                    <a:pt x="1390" y="197"/>
                    <a:pt x="1390" y="197"/>
                    <a:pt x="1390" y="197"/>
                  </a:cubicBezTo>
                  <a:cubicBezTo>
                    <a:pt x="1514" y="197"/>
                    <a:pt x="1514" y="197"/>
                    <a:pt x="1514" y="197"/>
                  </a:cubicBezTo>
                  <a:cubicBezTo>
                    <a:pt x="1536" y="252"/>
                    <a:pt x="1536" y="252"/>
                    <a:pt x="1536" y="252"/>
                  </a:cubicBezTo>
                  <a:lnTo>
                    <a:pt x="1571" y="252"/>
                  </a:lnTo>
                  <a:close/>
                  <a:moveTo>
                    <a:pt x="1208" y="252"/>
                  </a:moveTo>
                  <a:cubicBezTo>
                    <a:pt x="1208" y="31"/>
                    <a:pt x="1208" y="31"/>
                    <a:pt x="1208" y="31"/>
                  </a:cubicBezTo>
                  <a:cubicBezTo>
                    <a:pt x="1287" y="31"/>
                    <a:pt x="1287" y="31"/>
                    <a:pt x="1287" y="31"/>
                  </a:cubicBezTo>
                  <a:cubicBezTo>
                    <a:pt x="1287" y="4"/>
                    <a:pt x="1287" y="4"/>
                    <a:pt x="1287" y="4"/>
                  </a:cubicBezTo>
                  <a:cubicBezTo>
                    <a:pt x="1098" y="4"/>
                    <a:pt x="1098" y="4"/>
                    <a:pt x="1098" y="4"/>
                  </a:cubicBezTo>
                  <a:cubicBezTo>
                    <a:pt x="1098" y="31"/>
                    <a:pt x="1098" y="31"/>
                    <a:pt x="1098" y="31"/>
                  </a:cubicBezTo>
                  <a:cubicBezTo>
                    <a:pt x="1177" y="31"/>
                    <a:pt x="1177" y="31"/>
                    <a:pt x="1177" y="31"/>
                  </a:cubicBezTo>
                  <a:cubicBezTo>
                    <a:pt x="1177" y="252"/>
                    <a:pt x="1177" y="252"/>
                    <a:pt x="1177" y="252"/>
                  </a:cubicBezTo>
                  <a:lnTo>
                    <a:pt x="1208" y="252"/>
                  </a:lnTo>
                  <a:close/>
                  <a:moveTo>
                    <a:pt x="932" y="126"/>
                  </a:moveTo>
                  <a:cubicBezTo>
                    <a:pt x="867" y="126"/>
                    <a:pt x="867" y="126"/>
                    <a:pt x="867" y="126"/>
                  </a:cubicBezTo>
                  <a:cubicBezTo>
                    <a:pt x="867" y="31"/>
                    <a:pt x="867" y="31"/>
                    <a:pt x="867" y="31"/>
                  </a:cubicBezTo>
                  <a:cubicBezTo>
                    <a:pt x="932" y="31"/>
                    <a:pt x="932" y="31"/>
                    <a:pt x="932" y="31"/>
                  </a:cubicBezTo>
                  <a:cubicBezTo>
                    <a:pt x="962" y="31"/>
                    <a:pt x="982" y="51"/>
                    <a:pt x="982" y="79"/>
                  </a:cubicBezTo>
                  <a:cubicBezTo>
                    <a:pt x="982" y="107"/>
                    <a:pt x="962" y="126"/>
                    <a:pt x="932" y="126"/>
                  </a:cubicBezTo>
                  <a:close/>
                  <a:moveTo>
                    <a:pt x="1017" y="252"/>
                  </a:moveTo>
                  <a:cubicBezTo>
                    <a:pt x="950" y="151"/>
                    <a:pt x="950" y="151"/>
                    <a:pt x="950" y="151"/>
                  </a:cubicBezTo>
                  <a:cubicBezTo>
                    <a:pt x="984" y="148"/>
                    <a:pt x="1014" y="123"/>
                    <a:pt x="1014" y="79"/>
                  </a:cubicBezTo>
                  <a:cubicBezTo>
                    <a:pt x="1014" y="33"/>
                    <a:pt x="982" y="4"/>
                    <a:pt x="936" y="4"/>
                  </a:cubicBezTo>
                  <a:cubicBezTo>
                    <a:pt x="836" y="4"/>
                    <a:pt x="836" y="4"/>
                    <a:pt x="836" y="4"/>
                  </a:cubicBezTo>
                  <a:cubicBezTo>
                    <a:pt x="836" y="252"/>
                    <a:pt x="836" y="252"/>
                    <a:pt x="836" y="252"/>
                  </a:cubicBezTo>
                  <a:cubicBezTo>
                    <a:pt x="867" y="252"/>
                    <a:pt x="867" y="252"/>
                    <a:pt x="867" y="252"/>
                  </a:cubicBezTo>
                  <a:cubicBezTo>
                    <a:pt x="867" y="154"/>
                    <a:pt x="867" y="154"/>
                    <a:pt x="867" y="154"/>
                  </a:cubicBezTo>
                  <a:cubicBezTo>
                    <a:pt x="917" y="154"/>
                    <a:pt x="917" y="154"/>
                    <a:pt x="917" y="154"/>
                  </a:cubicBezTo>
                  <a:cubicBezTo>
                    <a:pt x="980" y="252"/>
                    <a:pt x="980" y="252"/>
                    <a:pt x="980" y="252"/>
                  </a:cubicBezTo>
                  <a:lnTo>
                    <a:pt x="1017" y="252"/>
                  </a:lnTo>
                  <a:close/>
                  <a:moveTo>
                    <a:pt x="681" y="170"/>
                  </a:moveTo>
                  <a:cubicBezTo>
                    <a:pt x="576" y="170"/>
                    <a:pt x="576" y="170"/>
                    <a:pt x="576" y="170"/>
                  </a:cubicBezTo>
                  <a:cubicBezTo>
                    <a:pt x="629" y="36"/>
                    <a:pt x="629" y="36"/>
                    <a:pt x="629" y="36"/>
                  </a:cubicBezTo>
                  <a:lnTo>
                    <a:pt x="681" y="170"/>
                  </a:lnTo>
                  <a:close/>
                  <a:moveTo>
                    <a:pt x="748" y="252"/>
                  </a:moveTo>
                  <a:cubicBezTo>
                    <a:pt x="648" y="4"/>
                    <a:pt x="648" y="4"/>
                    <a:pt x="648" y="4"/>
                  </a:cubicBezTo>
                  <a:cubicBezTo>
                    <a:pt x="609" y="4"/>
                    <a:pt x="609" y="4"/>
                    <a:pt x="609" y="4"/>
                  </a:cubicBezTo>
                  <a:cubicBezTo>
                    <a:pt x="509" y="252"/>
                    <a:pt x="509" y="252"/>
                    <a:pt x="509" y="252"/>
                  </a:cubicBezTo>
                  <a:cubicBezTo>
                    <a:pt x="545" y="252"/>
                    <a:pt x="545" y="252"/>
                    <a:pt x="545" y="252"/>
                  </a:cubicBezTo>
                  <a:cubicBezTo>
                    <a:pt x="567" y="197"/>
                    <a:pt x="567" y="197"/>
                    <a:pt x="567" y="197"/>
                  </a:cubicBezTo>
                  <a:cubicBezTo>
                    <a:pt x="691" y="197"/>
                    <a:pt x="691" y="197"/>
                    <a:pt x="691" y="197"/>
                  </a:cubicBezTo>
                  <a:cubicBezTo>
                    <a:pt x="713" y="252"/>
                    <a:pt x="713" y="252"/>
                    <a:pt x="713" y="252"/>
                  </a:cubicBezTo>
                  <a:lnTo>
                    <a:pt x="748" y="252"/>
                  </a:lnTo>
                  <a:close/>
                  <a:moveTo>
                    <a:pt x="385" y="126"/>
                  </a:moveTo>
                  <a:cubicBezTo>
                    <a:pt x="320" y="126"/>
                    <a:pt x="320" y="126"/>
                    <a:pt x="320" y="126"/>
                  </a:cubicBezTo>
                  <a:cubicBezTo>
                    <a:pt x="320" y="31"/>
                    <a:pt x="320" y="31"/>
                    <a:pt x="320" y="31"/>
                  </a:cubicBezTo>
                  <a:cubicBezTo>
                    <a:pt x="385" y="31"/>
                    <a:pt x="385" y="31"/>
                    <a:pt x="385" y="31"/>
                  </a:cubicBezTo>
                  <a:cubicBezTo>
                    <a:pt x="415" y="31"/>
                    <a:pt x="435" y="51"/>
                    <a:pt x="435" y="79"/>
                  </a:cubicBezTo>
                  <a:cubicBezTo>
                    <a:pt x="435" y="107"/>
                    <a:pt x="415" y="126"/>
                    <a:pt x="385" y="126"/>
                  </a:cubicBezTo>
                  <a:close/>
                  <a:moveTo>
                    <a:pt x="320" y="252"/>
                  </a:moveTo>
                  <a:cubicBezTo>
                    <a:pt x="320" y="154"/>
                    <a:pt x="320" y="154"/>
                    <a:pt x="320" y="154"/>
                  </a:cubicBezTo>
                  <a:cubicBezTo>
                    <a:pt x="389" y="154"/>
                    <a:pt x="389" y="154"/>
                    <a:pt x="389" y="154"/>
                  </a:cubicBezTo>
                  <a:cubicBezTo>
                    <a:pt x="438" y="154"/>
                    <a:pt x="467" y="119"/>
                    <a:pt x="467" y="79"/>
                  </a:cubicBezTo>
                  <a:cubicBezTo>
                    <a:pt x="467" y="38"/>
                    <a:pt x="439" y="4"/>
                    <a:pt x="389" y="4"/>
                  </a:cubicBezTo>
                  <a:cubicBezTo>
                    <a:pt x="289" y="4"/>
                    <a:pt x="289" y="4"/>
                    <a:pt x="289" y="4"/>
                  </a:cubicBezTo>
                  <a:cubicBezTo>
                    <a:pt x="289" y="252"/>
                    <a:pt x="289" y="252"/>
                    <a:pt x="289" y="252"/>
                  </a:cubicBezTo>
                  <a:lnTo>
                    <a:pt x="320" y="252"/>
                  </a:lnTo>
                  <a:close/>
                  <a:moveTo>
                    <a:pt x="95" y="257"/>
                  </a:moveTo>
                  <a:cubicBezTo>
                    <a:pt x="162" y="257"/>
                    <a:pt x="187" y="220"/>
                    <a:pt x="187" y="184"/>
                  </a:cubicBezTo>
                  <a:cubicBezTo>
                    <a:pt x="187" y="91"/>
                    <a:pt x="40" y="123"/>
                    <a:pt x="40" y="67"/>
                  </a:cubicBezTo>
                  <a:cubicBezTo>
                    <a:pt x="40" y="44"/>
                    <a:pt x="61" y="28"/>
                    <a:pt x="91" y="28"/>
                  </a:cubicBezTo>
                  <a:cubicBezTo>
                    <a:pt x="118" y="28"/>
                    <a:pt x="144" y="37"/>
                    <a:pt x="163" y="57"/>
                  </a:cubicBezTo>
                  <a:cubicBezTo>
                    <a:pt x="181" y="35"/>
                    <a:pt x="181" y="35"/>
                    <a:pt x="181" y="35"/>
                  </a:cubicBezTo>
                  <a:cubicBezTo>
                    <a:pt x="161" y="13"/>
                    <a:pt x="131" y="0"/>
                    <a:pt x="93" y="0"/>
                  </a:cubicBezTo>
                  <a:cubicBezTo>
                    <a:pt x="44" y="0"/>
                    <a:pt x="8" y="28"/>
                    <a:pt x="8" y="69"/>
                  </a:cubicBezTo>
                  <a:cubicBezTo>
                    <a:pt x="8" y="158"/>
                    <a:pt x="155" y="122"/>
                    <a:pt x="155" y="186"/>
                  </a:cubicBezTo>
                  <a:cubicBezTo>
                    <a:pt x="155" y="205"/>
                    <a:pt x="141" y="229"/>
                    <a:pt x="97" y="229"/>
                  </a:cubicBezTo>
                  <a:cubicBezTo>
                    <a:pt x="61" y="229"/>
                    <a:pt x="35" y="212"/>
                    <a:pt x="18" y="194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20" y="240"/>
                    <a:pt x="52" y="257"/>
                    <a:pt x="95" y="257"/>
                  </a:cubicBezTo>
                  <a:close/>
                </a:path>
              </a:pathLst>
            </a:custGeom>
            <a:solidFill>
              <a:srgbClr val="0101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0" name="Title 1">
            <a:extLst>
              <a:ext uri="{FF2B5EF4-FFF2-40B4-BE49-F238E27FC236}">
                <a16:creationId xmlns:a16="http://schemas.microsoft.com/office/drawing/2014/main" id="{CB6EFD8C-F6DA-4D3D-BB60-6C6DF9C7D2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53391" y="2388689"/>
            <a:ext cx="5503180" cy="1089528"/>
          </a:xfrm>
        </p:spPr>
        <p:txBody>
          <a:bodyPr anchor="b"/>
          <a:lstStyle>
            <a:lvl1pPr>
              <a:defRPr sz="4000" b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76260023-D145-4ACF-A998-C4B169D6A0E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53389" y="3551159"/>
            <a:ext cx="5503179" cy="817358"/>
          </a:xfrm>
        </p:spPr>
        <p:txBody>
          <a:bodyPr>
            <a:normAutofit/>
          </a:bodyPr>
          <a:lstStyle>
            <a:lvl1pPr marL="0" indent="0">
              <a:buNone/>
              <a:defRPr sz="1800"/>
            </a:lvl1pPr>
            <a:lvl2pPr>
              <a:defRPr sz="1800"/>
            </a:lvl2pPr>
          </a:lstStyle>
          <a:p>
            <a:pPr lvl="0"/>
            <a:r>
              <a:rPr lang="en-US" dirty="0"/>
              <a:t>Edit Master text styles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07EF4A5E-964F-443E-BE2B-139C1B066BF2}"/>
              </a:ext>
            </a:extLst>
          </p:cNvPr>
          <p:cNvGrpSpPr/>
          <p:nvPr/>
        </p:nvGrpSpPr>
        <p:grpSpPr>
          <a:xfrm>
            <a:off x="1" y="1588"/>
            <a:ext cx="5521325" cy="6856412"/>
            <a:chOff x="1" y="1588"/>
            <a:chExt cx="5521325" cy="6856412"/>
          </a:xfrm>
        </p:grpSpPr>
        <p:sp>
          <p:nvSpPr>
            <p:cNvPr id="28" name="Freeform 5">
              <a:extLst>
                <a:ext uri="{FF2B5EF4-FFF2-40B4-BE49-F238E27FC236}">
                  <a16:creationId xmlns:a16="http://schemas.microsoft.com/office/drawing/2014/main" id="{8895497D-19E3-40A9-853D-1F80BCEE1ACB}"/>
                </a:ext>
              </a:extLst>
            </p:cNvPr>
            <p:cNvSpPr>
              <a:spLocks/>
            </p:cNvSpPr>
            <p:nvPr/>
          </p:nvSpPr>
          <p:spPr bwMode="auto">
            <a:xfrm>
              <a:off x="1" y="1588"/>
              <a:ext cx="5172075" cy="6856412"/>
            </a:xfrm>
            <a:custGeom>
              <a:avLst/>
              <a:gdLst>
                <a:gd name="T0" fmla="*/ 0 w 3258"/>
                <a:gd name="T1" fmla="*/ 0 h 4319"/>
                <a:gd name="T2" fmla="*/ 1739 w 3258"/>
                <a:gd name="T3" fmla="*/ 0 h 4319"/>
                <a:gd name="T4" fmla="*/ 2581 w 3258"/>
                <a:gd name="T5" fmla="*/ 699 h 4319"/>
                <a:gd name="T6" fmla="*/ 3258 w 3258"/>
                <a:gd name="T7" fmla="*/ 1888 h 4319"/>
                <a:gd name="T8" fmla="*/ 2643 w 3258"/>
                <a:gd name="T9" fmla="*/ 4319 h 4319"/>
                <a:gd name="T10" fmla="*/ 0 w 3258"/>
                <a:gd name="T11" fmla="*/ 4319 h 4319"/>
                <a:gd name="T12" fmla="*/ 0 w 3258"/>
                <a:gd name="T13" fmla="*/ 0 h 4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58" h="4319">
                  <a:moveTo>
                    <a:pt x="0" y="0"/>
                  </a:moveTo>
                  <a:lnTo>
                    <a:pt x="1739" y="0"/>
                  </a:lnTo>
                  <a:lnTo>
                    <a:pt x="2581" y="699"/>
                  </a:lnTo>
                  <a:lnTo>
                    <a:pt x="3258" y="1888"/>
                  </a:lnTo>
                  <a:lnTo>
                    <a:pt x="2643" y="4319"/>
                  </a:lnTo>
                  <a:lnTo>
                    <a:pt x="0" y="431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C20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6">
              <a:extLst>
                <a:ext uri="{FF2B5EF4-FFF2-40B4-BE49-F238E27FC236}">
                  <a16:creationId xmlns:a16="http://schemas.microsoft.com/office/drawing/2014/main" id="{837552FA-05A2-4103-BCC0-93B9747FE4D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0663" y="1588"/>
              <a:ext cx="1336675" cy="1109662"/>
            </a:xfrm>
            <a:custGeom>
              <a:avLst/>
              <a:gdLst>
                <a:gd name="T0" fmla="*/ 842 w 842"/>
                <a:gd name="T1" fmla="*/ 699 h 699"/>
                <a:gd name="T2" fmla="*/ 443 w 842"/>
                <a:gd name="T3" fmla="*/ 0 h 699"/>
                <a:gd name="T4" fmla="*/ 0 w 842"/>
                <a:gd name="T5" fmla="*/ 0 h 699"/>
                <a:gd name="T6" fmla="*/ 842 w 842"/>
                <a:gd name="T7" fmla="*/ 699 h 6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42" h="699">
                  <a:moveTo>
                    <a:pt x="842" y="699"/>
                  </a:moveTo>
                  <a:lnTo>
                    <a:pt x="443" y="0"/>
                  </a:lnTo>
                  <a:lnTo>
                    <a:pt x="0" y="0"/>
                  </a:lnTo>
                  <a:lnTo>
                    <a:pt x="842" y="699"/>
                  </a:lnTo>
                  <a:close/>
                </a:path>
              </a:pathLst>
            </a:custGeom>
            <a:solidFill>
              <a:srgbClr val="F9AC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7">
              <a:extLst>
                <a:ext uri="{FF2B5EF4-FFF2-40B4-BE49-F238E27FC236}">
                  <a16:creationId xmlns:a16="http://schemas.microsoft.com/office/drawing/2014/main" id="{199AF8FB-048F-4085-990F-98A0D9A7DC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9412" y="1588"/>
              <a:ext cx="1306513" cy="1670050"/>
            </a:xfrm>
            <a:custGeom>
              <a:avLst/>
              <a:gdLst>
                <a:gd name="T0" fmla="*/ 0 w 823"/>
                <a:gd name="T1" fmla="*/ 0 h 1052"/>
                <a:gd name="T2" fmla="*/ 399 w 823"/>
                <a:gd name="T3" fmla="*/ 699 h 1052"/>
                <a:gd name="T4" fmla="*/ 823 w 823"/>
                <a:gd name="T5" fmla="*/ 1052 h 1052"/>
                <a:gd name="T6" fmla="*/ 531 w 823"/>
                <a:gd name="T7" fmla="*/ 0 h 1052"/>
                <a:gd name="T8" fmla="*/ 0 w 823"/>
                <a:gd name="T9" fmla="*/ 0 h 10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23" h="1052">
                  <a:moveTo>
                    <a:pt x="0" y="0"/>
                  </a:moveTo>
                  <a:lnTo>
                    <a:pt x="399" y="699"/>
                  </a:lnTo>
                  <a:lnTo>
                    <a:pt x="823" y="1052"/>
                  </a:lnTo>
                  <a:lnTo>
                    <a:pt x="53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47D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8">
              <a:extLst>
                <a:ext uri="{FF2B5EF4-FFF2-40B4-BE49-F238E27FC236}">
                  <a16:creationId xmlns:a16="http://schemas.microsoft.com/office/drawing/2014/main" id="{08123B19-DB85-4E83-B8CF-342588C3E79B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7338" y="1111250"/>
              <a:ext cx="1009650" cy="1774825"/>
            </a:xfrm>
            <a:custGeom>
              <a:avLst/>
              <a:gdLst>
                <a:gd name="T0" fmla="*/ 424 w 636"/>
                <a:gd name="T1" fmla="*/ 353 h 1118"/>
                <a:gd name="T2" fmla="*/ 0 w 636"/>
                <a:gd name="T3" fmla="*/ 0 h 1118"/>
                <a:gd name="T4" fmla="*/ 636 w 636"/>
                <a:gd name="T5" fmla="*/ 1118 h 1118"/>
                <a:gd name="T6" fmla="*/ 424 w 636"/>
                <a:gd name="T7" fmla="*/ 353 h 1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36" h="1118">
                  <a:moveTo>
                    <a:pt x="424" y="353"/>
                  </a:moveTo>
                  <a:lnTo>
                    <a:pt x="0" y="0"/>
                  </a:lnTo>
                  <a:lnTo>
                    <a:pt x="636" y="1118"/>
                  </a:lnTo>
                  <a:lnTo>
                    <a:pt x="424" y="353"/>
                  </a:lnTo>
                  <a:close/>
                </a:path>
              </a:pathLst>
            </a:custGeom>
            <a:solidFill>
              <a:srgbClr val="F155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9">
              <a:extLst>
                <a:ext uri="{FF2B5EF4-FFF2-40B4-BE49-F238E27FC236}">
                  <a16:creationId xmlns:a16="http://schemas.microsoft.com/office/drawing/2014/main" id="{FFDF3801-44D3-4149-82C6-85B6A716036F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0438" y="1671638"/>
              <a:ext cx="750888" cy="1327150"/>
            </a:xfrm>
            <a:custGeom>
              <a:avLst/>
              <a:gdLst>
                <a:gd name="T0" fmla="*/ 0 w 473"/>
                <a:gd name="T1" fmla="*/ 0 h 836"/>
                <a:gd name="T2" fmla="*/ 212 w 473"/>
                <a:gd name="T3" fmla="*/ 765 h 836"/>
                <a:gd name="T4" fmla="*/ 253 w 473"/>
                <a:gd name="T5" fmla="*/ 836 h 836"/>
                <a:gd name="T6" fmla="*/ 473 w 473"/>
                <a:gd name="T7" fmla="*/ 393 h 836"/>
                <a:gd name="T8" fmla="*/ 0 w 473"/>
                <a:gd name="T9" fmla="*/ 0 h 8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3" h="836">
                  <a:moveTo>
                    <a:pt x="0" y="0"/>
                  </a:moveTo>
                  <a:lnTo>
                    <a:pt x="212" y="765"/>
                  </a:lnTo>
                  <a:lnTo>
                    <a:pt x="253" y="836"/>
                  </a:lnTo>
                  <a:lnTo>
                    <a:pt x="473" y="39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9AC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10">
              <a:extLst>
                <a:ext uri="{FF2B5EF4-FFF2-40B4-BE49-F238E27FC236}">
                  <a16:creationId xmlns:a16="http://schemas.microsoft.com/office/drawing/2014/main" id="{FCC37EF9-D366-4183-A0B0-E82D78530664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9701" y="3040063"/>
              <a:ext cx="1412875" cy="2417762"/>
            </a:xfrm>
            <a:custGeom>
              <a:avLst/>
              <a:gdLst>
                <a:gd name="T0" fmla="*/ 756 w 890"/>
                <a:gd name="T1" fmla="*/ 0 h 1523"/>
                <a:gd name="T2" fmla="*/ 0 w 890"/>
                <a:gd name="T3" fmla="*/ 1523 h 1523"/>
                <a:gd name="T4" fmla="*/ 890 w 890"/>
                <a:gd name="T5" fmla="*/ 477 h 1523"/>
                <a:gd name="T6" fmla="*/ 756 w 890"/>
                <a:gd name="T7" fmla="*/ 0 h 1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90" h="1523">
                  <a:moveTo>
                    <a:pt x="756" y="0"/>
                  </a:moveTo>
                  <a:lnTo>
                    <a:pt x="0" y="1523"/>
                  </a:lnTo>
                  <a:lnTo>
                    <a:pt x="890" y="477"/>
                  </a:lnTo>
                  <a:lnTo>
                    <a:pt x="756" y="0"/>
                  </a:lnTo>
                  <a:close/>
                </a:path>
              </a:pathLst>
            </a:custGeom>
            <a:solidFill>
              <a:srgbClr val="F155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595348F9-3222-4871-84C9-F873C5D9A435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9093" y="2998788"/>
              <a:ext cx="371475" cy="798512"/>
            </a:xfrm>
            <a:custGeom>
              <a:avLst/>
              <a:gdLst>
                <a:gd name="T0" fmla="*/ 0 w 234"/>
                <a:gd name="T1" fmla="*/ 26 h 503"/>
                <a:gd name="T2" fmla="*/ 134 w 234"/>
                <a:gd name="T3" fmla="*/ 503 h 503"/>
                <a:gd name="T4" fmla="*/ 234 w 234"/>
                <a:gd name="T5" fmla="*/ 386 h 503"/>
                <a:gd name="T6" fmla="*/ 14 w 234"/>
                <a:gd name="T7" fmla="*/ 0 h 503"/>
                <a:gd name="T8" fmla="*/ 0 w 234"/>
                <a:gd name="T9" fmla="*/ 26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4" h="503">
                  <a:moveTo>
                    <a:pt x="0" y="26"/>
                  </a:moveTo>
                  <a:lnTo>
                    <a:pt x="134" y="503"/>
                  </a:lnTo>
                  <a:lnTo>
                    <a:pt x="234" y="386"/>
                  </a:lnTo>
                  <a:lnTo>
                    <a:pt x="14" y="0"/>
                  </a:lnTo>
                  <a:lnTo>
                    <a:pt x="0" y="26"/>
                  </a:lnTo>
                  <a:close/>
                </a:path>
              </a:pathLst>
            </a:custGeom>
            <a:solidFill>
              <a:srgbClr val="D025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5D7AC1E0-3162-4C74-9254-C735F2ECD2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4376" y="3797300"/>
              <a:ext cx="2266950" cy="3060700"/>
            </a:xfrm>
            <a:custGeom>
              <a:avLst/>
              <a:gdLst>
                <a:gd name="T0" fmla="*/ 1328 w 1428"/>
                <a:gd name="T1" fmla="*/ 0 h 1928"/>
                <a:gd name="T2" fmla="*/ 438 w 1428"/>
                <a:gd name="T3" fmla="*/ 1046 h 1928"/>
                <a:gd name="T4" fmla="*/ 0 w 1428"/>
                <a:gd name="T5" fmla="*/ 1928 h 1928"/>
                <a:gd name="T6" fmla="*/ 593 w 1428"/>
                <a:gd name="T7" fmla="*/ 1928 h 1928"/>
                <a:gd name="T8" fmla="*/ 1428 w 1428"/>
                <a:gd name="T9" fmla="*/ 363 h 1928"/>
                <a:gd name="T10" fmla="*/ 1328 w 1428"/>
                <a:gd name="T11" fmla="*/ 0 h 19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28" h="1928">
                  <a:moveTo>
                    <a:pt x="1328" y="0"/>
                  </a:moveTo>
                  <a:lnTo>
                    <a:pt x="438" y="1046"/>
                  </a:lnTo>
                  <a:lnTo>
                    <a:pt x="0" y="1928"/>
                  </a:lnTo>
                  <a:lnTo>
                    <a:pt x="593" y="1928"/>
                  </a:lnTo>
                  <a:lnTo>
                    <a:pt x="1428" y="363"/>
                  </a:lnTo>
                  <a:lnTo>
                    <a:pt x="1328" y="0"/>
                  </a:lnTo>
                  <a:close/>
                </a:path>
              </a:pathLst>
            </a:custGeom>
            <a:solidFill>
              <a:srgbClr val="931A1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B5E5F53B-2634-444A-B45A-1CE60BAFF210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0663" y="5457825"/>
              <a:ext cx="1189038" cy="1400175"/>
            </a:xfrm>
            <a:custGeom>
              <a:avLst/>
              <a:gdLst>
                <a:gd name="T0" fmla="*/ 311 w 749"/>
                <a:gd name="T1" fmla="*/ 882 h 882"/>
                <a:gd name="T2" fmla="*/ 749 w 749"/>
                <a:gd name="T3" fmla="*/ 0 h 882"/>
                <a:gd name="T4" fmla="*/ 0 w 749"/>
                <a:gd name="T5" fmla="*/ 882 h 882"/>
                <a:gd name="T6" fmla="*/ 311 w 749"/>
                <a:gd name="T7" fmla="*/ 882 h 8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49" h="882">
                  <a:moveTo>
                    <a:pt x="311" y="882"/>
                  </a:moveTo>
                  <a:lnTo>
                    <a:pt x="749" y="0"/>
                  </a:lnTo>
                  <a:lnTo>
                    <a:pt x="0" y="882"/>
                  </a:lnTo>
                  <a:lnTo>
                    <a:pt x="311" y="882"/>
                  </a:lnTo>
                  <a:close/>
                </a:path>
              </a:pathLst>
            </a:custGeom>
            <a:solidFill>
              <a:srgbClr val="F47D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4ED2D8F9-B666-4ACC-B595-B21F802F7D03}"/>
              </a:ext>
            </a:extLst>
          </p:cNvPr>
          <p:cNvGrpSpPr>
            <a:grpSpLocks/>
          </p:cNvGrpSpPr>
          <p:nvPr/>
        </p:nvGrpSpPr>
        <p:grpSpPr>
          <a:xfrm>
            <a:off x="6253390" y="1378143"/>
            <a:ext cx="2445002" cy="586989"/>
            <a:chOff x="4124325" y="4591050"/>
            <a:chExt cx="2479675" cy="595313"/>
          </a:xfrm>
        </p:grpSpPr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4D524078-6249-4B15-A7D8-3EFA8EDA0C97}"/>
                </a:ext>
              </a:extLst>
            </p:cNvPr>
            <p:cNvGrpSpPr/>
            <p:nvPr/>
          </p:nvGrpSpPr>
          <p:grpSpPr>
            <a:xfrm>
              <a:off x="4124325" y="4591050"/>
              <a:ext cx="460375" cy="595313"/>
              <a:chOff x="4124325" y="4591050"/>
              <a:chExt cx="460375" cy="595313"/>
            </a:xfrm>
          </p:grpSpPr>
          <p:sp>
            <p:nvSpPr>
              <p:cNvPr id="43" name="Freeform 25">
                <a:extLst>
                  <a:ext uri="{FF2B5EF4-FFF2-40B4-BE49-F238E27FC236}">
                    <a16:creationId xmlns:a16="http://schemas.microsoft.com/office/drawing/2014/main" id="{31F0670D-623B-43F0-8ECD-62EC33F5D2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4325" y="4983163"/>
                <a:ext cx="457200" cy="203200"/>
              </a:xfrm>
              <a:custGeom>
                <a:avLst/>
                <a:gdLst>
                  <a:gd name="T0" fmla="*/ 143 w 288"/>
                  <a:gd name="T1" fmla="*/ 66 h 128"/>
                  <a:gd name="T2" fmla="*/ 228 w 288"/>
                  <a:gd name="T3" fmla="*/ 23 h 128"/>
                  <a:gd name="T4" fmla="*/ 283 w 288"/>
                  <a:gd name="T5" fmla="*/ 0 h 128"/>
                  <a:gd name="T6" fmla="*/ 288 w 288"/>
                  <a:gd name="T7" fmla="*/ 3 h 128"/>
                  <a:gd name="T8" fmla="*/ 283 w 288"/>
                  <a:gd name="T9" fmla="*/ 62 h 128"/>
                  <a:gd name="T10" fmla="*/ 156 w 288"/>
                  <a:gd name="T11" fmla="*/ 128 h 128"/>
                  <a:gd name="T12" fmla="*/ 131 w 288"/>
                  <a:gd name="T13" fmla="*/ 128 h 128"/>
                  <a:gd name="T14" fmla="*/ 4 w 288"/>
                  <a:gd name="T15" fmla="*/ 62 h 128"/>
                  <a:gd name="T16" fmla="*/ 0 w 288"/>
                  <a:gd name="T17" fmla="*/ 3 h 128"/>
                  <a:gd name="T18" fmla="*/ 4 w 288"/>
                  <a:gd name="T19" fmla="*/ 0 h 128"/>
                  <a:gd name="T20" fmla="*/ 59 w 288"/>
                  <a:gd name="T21" fmla="*/ 23 h 128"/>
                  <a:gd name="T22" fmla="*/ 143 w 288"/>
                  <a:gd name="T23" fmla="*/ 66 h 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88" h="128">
                    <a:moveTo>
                      <a:pt x="143" y="66"/>
                    </a:moveTo>
                    <a:lnTo>
                      <a:pt x="228" y="23"/>
                    </a:lnTo>
                    <a:lnTo>
                      <a:pt x="283" y="0"/>
                    </a:lnTo>
                    <a:lnTo>
                      <a:pt x="288" y="3"/>
                    </a:lnTo>
                    <a:lnTo>
                      <a:pt x="283" y="62"/>
                    </a:lnTo>
                    <a:lnTo>
                      <a:pt x="156" y="128"/>
                    </a:lnTo>
                    <a:lnTo>
                      <a:pt x="131" y="128"/>
                    </a:lnTo>
                    <a:lnTo>
                      <a:pt x="4" y="62"/>
                    </a:lnTo>
                    <a:lnTo>
                      <a:pt x="0" y="3"/>
                    </a:lnTo>
                    <a:lnTo>
                      <a:pt x="4" y="0"/>
                    </a:lnTo>
                    <a:lnTo>
                      <a:pt x="59" y="23"/>
                    </a:lnTo>
                    <a:lnTo>
                      <a:pt x="143" y="66"/>
                    </a:lnTo>
                    <a:close/>
                  </a:path>
                </a:pathLst>
              </a:custGeom>
              <a:solidFill>
                <a:srgbClr val="F155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26">
                <a:extLst>
                  <a:ext uri="{FF2B5EF4-FFF2-40B4-BE49-F238E27FC236}">
                    <a16:creationId xmlns:a16="http://schemas.microsoft.com/office/drawing/2014/main" id="{D882C490-23CE-4A81-9663-C93095D06E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4325" y="4689475"/>
                <a:ext cx="457200" cy="403225"/>
              </a:xfrm>
              <a:custGeom>
                <a:avLst/>
                <a:gdLst>
                  <a:gd name="T0" fmla="*/ 288 w 288"/>
                  <a:gd name="T1" fmla="*/ 188 h 254"/>
                  <a:gd name="T2" fmla="*/ 283 w 288"/>
                  <a:gd name="T3" fmla="*/ 247 h 254"/>
                  <a:gd name="T4" fmla="*/ 270 w 288"/>
                  <a:gd name="T5" fmla="*/ 254 h 254"/>
                  <a:gd name="T6" fmla="*/ 0 w 288"/>
                  <a:gd name="T7" fmla="*/ 17 h 254"/>
                  <a:gd name="T8" fmla="*/ 0 w 288"/>
                  <a:gd name="T9" fmla="*/ 11 h 254"/>
                  <a:gd name="T10" fmla="*/ 72 w 288"/>
                  <a:gd name="T11" fmla="*/ 0 h 254"/>
                  <a:gd name="T12" fmla="*/ 288 w 288"/>
                  <a:gd name="T13" fmla="*/ 188 h 2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8" h="254">
                    <a:moveTo>
                      <a:pt x="288" y="188"/>
                    </a:moveTo>
                    <a:lnTo>
                      <a:pt x="283" y="247"/>
                    </a:lnTo>
                    <a:lnTo>
                      <a:pt x="270" y="254"/>
                    </a:lnTo>
                    <a:lnTo>
                      <a:pt x="0" y="17"/>
                    </a:lnTo>
                    <a:lnTo>
                      <a:pt x="0" y="11"/>
                    </a:lnTo>
                    <a:lnTo>
                      <a:pt x="72" y="0"/>
                    </a:lnTo>
                    <a:lnTo>
                      <a:pt x="288" y="188"/>
                    </a:lnTo>
                    <a:close/>
                  </a:path>
                </a:pathLst>
              </a:custGeom>
              <a:solidFill>
                <a:srgbClr val="BC202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Freeform 27">
                <a:extLst>
                  <a:ext uri="{FF2B5EF4-FFF2-40B4-BE49-F238E27FC236}">
                    <a16:creationId xmlns:a16="http://schemas.microsoft.com/office/drawing/2014/main" id="{77DC2465-B8AD-48DB-BB26-8D699DFA73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4325" y="4867275"/>
                <a:ext cx="209550" cy="225425"/>
              </a:xfrm>
              <a:custGeom>
                <a:avLst/>
                <a:gdLst>
                  <a:gd name="T0" fmla="*/ 17 w 132"/>
                  <a:gd name="T1" fmla="*/ 142 h 142"/>
                  <a:gd name="T2" fmla="*/ 4 w 132"/>
                  <a:gd name="T3" fmla="*/ 135 h 142"/>
                  <a:gd name="T4" fmla="*/ 0 w 132"/>
                  <a:gd name="T5" fmla="*/ 76 h 142"/>
                  <a:gd name="T6" fmla="*/ 86 w 132"/>
                  <a:gd name="T7" fmla="*/ 0 h 142"/>
                  <a:gd name="T8" fmla="*/ 132 w 132"/>
                  <a:gd name="T9" fmla="*/ 41 h 142"/>
                  <a:gd name="T10" fmla="*/ 17 w 132"/>
                  <a:gd name="T11" fmla="*/ 142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2" h="142">
                    <a:moveTo>
                      <a:pt x="17" y="142"/>
                    </a:moveTo>
                    <a:lnTo>
                      <a:pt x="4" y="135"/>
                    </a:lnTo>
                    <a:lnTo>
                      <a:pt x="0" y="76"/>
                    </a:lnTo>
                    <a:lnTo>
                      <a:pt x="86" y="0"/>
                    </a:lnTo>
                    <a:lnTo>
                      <a:pt x="132" y="41"/>
                    </a:lnTo>
                    <a:lnTo>
                      <a:pt x="17" y="142"/>
                    </a:lnTo>
                    <a:close/>
                  </a:path>
                </a:pathLst>
              </a:custGeom>
              <a:solidFill>
                <a:srgbClr val="931A1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Freeform 28">
                <a:extLst>
                  <a:ext uri="{FF2B5EF4-FFF2-40B4-BE49-F238E27FC236}">
                    <a16:creationId xmlns:a16="http://schemas.microsoft.com/office/drawing/2014/main" id="{9B0AF956-0F0A-4149-B756-7796EA961A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4325" y="4591050"/>
                <a:ext cx="381000" cy="130175"/>
              </a:xfrm>
              <a:custGeom>
                <a:avLst/>
                <a:gdLst>
                  <a:gd name="T0" fmla="*/ 143 w 240"/>
                  <a:gd name="T1" fmla="*/ 60 h 82"/>
                  <a:gd name="T2" fmla="*/ 3 w 240"/>
                  <a:gd name="T3" fmla="*/ 82 h 82"/>
                  <a:gd name="T4" fmla="*/ 0 w 240"/>
                  <a:gd name="T5" fmla="*/ 79 h 82"/>
                  <a:gd name="T6" fmla="*/ 4 w 240"/>
                  <a:gd name="T7" fmla="*/ 21 h 82"/>
                  <a:gd name="T8" fmla="*/ 139 w 240"/>
                  <a:gd name="T9" fmla="*/ 0 h 82"/>
                  <a:gd name="T10" fmla="*/ 147 w 240"/>
                  <a:gd name="T11" fmla="*/ 0 h 82"/>
                  <a:gd name="T12" fmla="*/ 240 w 240"/>
                  <a:gd name="T13" fmla="*/ 14 h 82"/>
                  <a:gd name="T14" fmla="*/ 240 w 240"/>
                  <a:gd name="T15" fmla="*/ 76 h 82"/>
                  <a:gd name="T16" fmla="*/ 143 w 240"/>
                  <a:gd name="T17" fmla="*/ 60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40" h="82">
                    <a:moveTo>
                      <a:pt x="143" y="60"/>
                    </a:moveTo>
                    <a:lnTo>
                      <a:pt x="3" y="82"/>
                    </a:lnTo>
                    <a:lnTo>
                      <a:pt x="0" y="79"/>
                    </a:lnTo>
                    <a:lnTo>
                      <a:pt x="4" y="21"/>
                    </a:lnTo>
                    <a:lnTo>
                      <a:pt x="139" y="0"/>
                    </a:lnTo>
                    <a:lnTo>
                      <a:pt x="147" y="0"/>
                    </a:lnTo>
                    <a:lnTo>
                      <a:pt x="240" y="14"/>
                    </a:lnTo>
                    <a:lnTo>
                      <a:pt x="240" y="76"/>
                    </a:lnTo>
                    <a:lnTo>
                      <a:pt x="143" y="60"/>
                    </a:lnTo>
                    <a:close/>
                  </a:path>
                </a:pathLst>
              </a:custGeom>
              <a:solidFill>
                <a:srgbClr val="F47D6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29">
                <a:extLst>
                  <a:ext uri="{FF2B5EF4-FFF2-40B4-BE49-F238E27FC236}">
                    <a16:creationId xmlns:a16="http://schemas.microsoft.com/office/drawing/2014/main" id="{AB135C31-7E42-4D6E-B085-D420E917D2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89450" y="4610100"/>
                <a:ext cx="95250" cy="207962"/>
              </a:xfrm>
              <a:custGeom>
                <a:avLst/>
                <a:gdLst>
                  <a:gd name="T0" fmla="*/ 0 w 60"/>
                  <a:gd name="T1" fmla="*/ 131 h 131"/>
                  <a:gd name="T2" fmla="*/ 0 w 60"/>
                  <a:gd name="T3" fmla="*/ 0 h 131"/>
                  <a:gd name="T4" fmla="*/ 37 w 60"/>
                  <a:gd name="T5" fmla="*/ 6 h 131"/>
                  <a:gd name="T6" fmla="*/ 60 w 60"/>
                  <a:gd name="T7" fmla="*/ 34 h 131"/>
                  <a:gd name="T8" fmla="*/ 60 w 60"/>
                  <a:gd name="T9" fmla="*/ 106 h 131"/>
                  <a:gd name="T10" fmla="*/ 0 w 60"/>
                  <a:gd name="T11" fmla="*/ 131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0" h="131">
                    <a:moveTo>
                      <a:pt x="0" y="131"/>
                    </a:moveTo>
                    <a:lnTo>
                      <a:pt x="0" y="0"/>
                    </a:lnTo>
                    <a:lnTo>
                      <a:pt x="37" y="6"/>
                    </a:lnTo>
                    <a:lnTo>
                      <a:pt x="60" y="34"/>
                    </a:lnTo>
                    <a:lnTo>
                      <a:pt x="60" y="106"/>
                    </a:lnTo>
                    <a:lnTo>
                      <a:pt x="0" y="131"/>
                    </a:lnTo>
                    <a:close/>
                  </a:path>
                </a:pathLst>
              </a:custGeom>
              <a:solidFill>
                <a:srgbClr val="F9AC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30">
                <a:extLst>
                  <a:ext uri="{FF2B5EF4-FFF2-40B4-BE49-F238E27FC236}">
                    <a16:creationId xmlns:a16="http://schemas.microsoft.com/office/drawing/2014/main" id="{DA36A413-CCAA-4F3E-A16B-B21FAE77FB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65638" y="4606925"/>
                <a:ext cx="23812" cy="100012"/>
              </a:xfrm>
              <a:custGeom>
                <a:avLst/>
                <a:gdLst>
                  <a:gd name="T0" fmla="*/ 0 w 15"/>
                  <a:gd name="T1" fmla="*/ 61 h 63"/>
                  <a:gd name="T2" fmla="*/ 15 w 15"/>
                  <a:gd name="T3" fmla="*/ 63 h 63"/>
                  <a:gd name="T4" fmla="*/ 15 w 15"/>
                  <a:gd name="T5" fmla="*/ 2 h 63"/>
                  <a:gd name="T6" fmla="*/ 0 w 15"/>
                  <a:gd name="T7" fmla="*/ 0 h 63"/>
                  <a:gd name="T8" fmla="*/ 0 w 15"/>
                  <a:gd name="T9" fmla="*/ 61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63">
                    <a:moveTo>
                      <a:pt x="0" y="61"/>
                    </a:moveTo>
                    <a:lnTo>
                      <a:pt x="15" y="63"/>
                    </a:lnTo>
                    <a:lnTo>
                      <a:pt x="15" y="2"/>
                    </a:lnTo>
                    <a:lnTo>
                      <a:pt x="0" y="0"/>
                    </a:lnTo>
                    <a:lnTo>
                      <a:pt x="0" y="61"/>
                    </a:lnTo>
                    <a:close/>
                  </a:path>
                </a:pathLst>
              </a:custGeom>
              <a:solidFill>
                <a:srgbClr val="F155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31">
                <a:extLst>
                  <a:ext uri="{FF2B5EF4-FFF2-40B4-BE49-F238E27FC236}">
                    <a16:creationId xmlns:a16="http://schemas.microsoft.com/office/drawing/2014/main" id="{7571954E-F14A-4362-B792-524004422E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9088" y="4702175"/>
                <a:ext cx="147637" cy="39687"/>
              </a:xfrm>
              <a:custGeom>
                <a:avLst/>
                <a:gdLst>
                  <a:gd name="T0" fmla="*/ 15 w 93"/>
                  <a:gd name="T1" fmla="*/ 25 h 25"/>
                  <a:gd name="T2" fmla="*/ 93 w 93"/>
                  <a:gd name="T3" fmla="*/ 13 h 25"/>
                  <a:gd name="T4" fmla="*/ 78 w 93"/>
                  <a:gd name="T5" fmla="*/ 0 h 25"/>
                  <a:gd name="T6" fmla="*/ 0 w 93"/>
                  <a:gd name="T7" fmla="*/ 12 h 25"/>
                  <a:gd name="T8" fmla="*/ 15 w 93"/>
                  <a:gd name="T9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3" h="25">
                    <a:moveTo>
                      <a:pt x="15" y="25"/>
                    </a:moveTo>
                    <a:lnTo>
                      <a:pt x="93" y="13"/>
                    </a:lnTo>
                    <a:lnTo>
                      <a:pt x="78" y="0"/>
                    </a:lnTo>
                    <a:lnTo>
                      <a:pt x="0" y="12"/>
                    </a:lnTo>
                    <a:lnTo>
                      <a:pt x="15" y="25"/>
                    </a:lnTo>
                    <a:close/>
                  </a:path>
                </a:pathLst>
              </a:custGeom>
              <a:solidFill>
                <a:srgbClr val="931A1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32">
                <a:extLst>
                  <a:ext uri="{FF2B5EF4-FFF2-40B4-BE49-F238E27FC236}">
                    <a16:creationId xmlns:a16="http://schemas.microsoft.com/office/drawing/2014/main" id="{BE350888-EF92-424F-96D0-A7D76A7344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52938" y="5022850"/>
                <a:ext cx="100012" cy="79375"/>
              </a:xfrm>
              <a:custGeom>
                <a:avLst/>
                <a:gdLst>
                  <a:gd name="T0" fmla="*/ 63 w 63"/>
                  <a:gd name="T1" fmla="*/ 44 h 50"/>
                  <a:gd name="T2" fmla="*/ 15 w 63"/>
                  <a:gd name="T3" fmla="*/ 0 h 50"/>
                  <a:gd name="T4" fmla="*/ 0 w 63"/>
                  <a:gd name="T5" fmla="*/ 8 h 50"/>
                  <a:gd name="T6" fmla="*/ 49 w 63"/>
                  <a:gd name="T7" fmla="*/ 50 h 50"/>
                  <a:gd name="T8" fmla="*/ 63 w 63"/>
                  <a:gd name="T9" fmla="*/ 44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3" h="50">
                    <a:moveTo>
                      <a:pt x="63" y="44"/>
                    </a:moveTo>
                    <a:lnTo>
                      <a:pt x="15" y="0"/>
                    </a:lnTo>
                    <a:lnTo>
                      <a:pt x="0" y="8"/>
                    </a:lnTo>
                    <a:lnTo>
                      <a:pt x="49" y="50"/>
                    </a:lnTo>
                    <a:lnTo>
                      <a:pt x="63" y="44"/>
                    </a:lnTo>
                    <a:close/>
                  </a:path>
                </a:pathLst>
              </a:custGeom>
              <a:solidFill>
                <a:srgbClr val="D025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33">
                <a:extLst>
                  <a:ext uri="{FF2B5EF4-FFF2-40B4-BE49-F238E27FC236}">
                    <a16:creationId xmlns:a16="http://schemas.microsoft.com/office/drawing/2014/main" id="{10C677DF-061D-4820-8229-2A35B3553A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51313" y="5022850"/>
                <a:ext cx="100012" cy="79375"/>
              </a:xfrm>
              <a:custGeom>
                <a:avLst/>
                <a:gdLst>
                  <a:gd name="T0" fmla="*/ 0 w 63"/>
                  <a:gd name="T1" fmla="*/ 44 h 50"/>
                  <a:gd name="T2" fmla="*/ 14 w 63"/>
                  <a:gd name="T3" fmla="*/ 50 h 50"/>
                  <a:gd name="T4" fmla="*/ 63 w 63"/>
                  <a:gd name="T5" fmla="*/ 8 h 50"/>
                  <a:gd name="T6" fmla="*/ 48 w 63"/>
                  <a:gd name="T7" fmla="*/ 0 h 50"/>
                  <a:gd name="T8" fmla="*/ 0 w 63"/>
                  <a:gd name="T9" fmla="*/ 44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3" h="50">
                    <a:moveTo>
                      <a:pt x="0" y="44"/>
                    </a:moveTo>
                    <a:lnTo>
                      <a:pt x="14" y="50"/>
                    </a:lnTo>
                    <a:lnTo>
                      <a:pt x="63" y="8"/>
                    </a:lnTo>
                    <a:lnTo>
                      <a:pt x="48" y="0"/>
                    </a:lnTo>
                    <a:lnTo>
                      <a:pt x="0" y="44"/>
                    </a:lnTo>
                    <a:close/>
                  </a:path>
                </a:pathLst>
              </a:custGeom>
              <a:solidFill>
                <a:srgbClr val="D025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42" name="Freeform 34">
              <a:extLst>
                <a:ext uri="{FF2B5EF4-FFF2-40B4-BE49-F238E27FC236}">
                  <a16:creationId xmlns:a16="http://schemas.microsoft.com/office/drawing/2014/main" id="{1BA7535D-B7A1-4B9F-916E-1D17952064D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73625" y="4746625"/>
              <a:ext cx="1730375" cy="284162"/>
            </a:xfrm>
            <a:custGeom>
              <a:avLst/>
              <a:gdLst>
                <a:gd name="T0" fmla="*/ 1399 w 1571"/>
                <a:gd name="T1" fmla="*/ 170 h 257"/>
                <a:gd name="T2" fmla="*/ 1505 w 1571"/>
                <a:gd name="T3" fmla="*/ 170 h 257"/>
                <a:gd name="T4" fmla="*/ 1471 w 1571"/>
                <a:gd name="T5" fmla="*/ 4 h 257"/>
                <a:gd name="T6" fmla="*/ 1333 w 1571"/>
                <a:gd name="T7" fmla="*/ 252 h 257"/>
                <a:gd name="T8" fmla="*/ 1390 w 1571"/>
                <a:gd name="T9" fmla="*/ 197 h 257"/>
                <a:gd name="T10" fmla="*/ 1536 w 1571"/>
                <a:gd name="T11" fmla="*/ 252 h 257"/>
                <a:gd name="T12" fmla="*/ 1208 w 1571"/>
                <a:gd name="T13" fmla="*/ 252 h 257"/>
                <a:gd name="T14" fmla="*/ 1287 w 1571"/>
                <a:gd name="T15" fmla="*/ 31 h 257"/>
                <a:gd name="T16" fmla="*/ 1098 w 1571"/>
                <a:gd name="T17" fmla="*/ 4 h 257"/>
                <a:gd name="T18" fmla="*/ 1177 w 1571"/>
                <a:gd name="T19" fmla="*/ 31 h 257"/>
                <a:gd name="T20" fmla="*/ 1208 w 1571"/>
                <a:gd name="T21" fmla="*/ 252 h 257"/>
                <a:gd name="T22" fmla="*/ 867 w 1571"/>
                <a:gd name="T23" fmla="*/ 126 h 257"/>
                <a:gd name="T24" fmla="*/ 932 w 1571"/>
                <a:gd name="T25" fmla="*/ 31 h 257"/>
                <a:gd name="T26" fmla="*/ 932 w 1571"/>
                <a:gd name="T27" fmla="*/ 126 h 257"/>
                <a:gd name="T28" fmla="*/ 950 w 1571"/>
                <a:gd name="T29" fmla="*/ 151 h 257"/>
                <a:gd name="T30" fmla="*/ 936 w 1571"/>
                <a:gd name="T31" fmla="*/ 4 h 257"/>
                <a:gd name="T32" fmla="*/ 836 w 1571"/>
                <a:gd name="T33" fmla="*/ 252 h 257"/>
                <a:gd name="T34" fmla="*/ 867 w 1571"/>
                <a:gd name="T35" fmla="*/ 154 h 257"/>
                <a:gd name="T36" fmla="*/ 980 w 1571"/>
                <a:gd name="T37" fmla="*/ 252 h 257"/>
                <a:gd name="T38" fmla="*/ 681 w 1571"/>
                <a:gd name="T39" fmla="*/ 170 h 257"/>
                <a:gd name="T40" fmla="*/ 629 w 1571"/>
                <a:gd name="T41" fmla="*/ 36 h 257"/>
                <a:gd name="T42" fmla="*/ 748 w 1571"/>
                <a:gd name="T43" fmla="*/ 252 h 257"/>
                <a:gd name="T44" fmla="*/ 609 w 1571"/>
                <a:gd name="T45" fmla="*/ 4 h 257"/>
                <a:gd name="T46" fmla="*/ 545 w 1571"/>
                <a:gd name="T47" fmla="*/ 252 h 257"/>
                <a:gd name="T48" fmla="*/ 691 w 1571"/>
                <a:gd name="T49" fmla="*/ 197 h 257"/>
                <a:gd name="T50" fmla="*/ 748 w 1571"/>
                <a:gd name="T51" fmla="*/ 252 h 257"/>
                <a:gd name="T52" fmla="*/ 320 w 1571"/>
                <a:gd name="T53" fmla="*/ 126 h 257"/>
                <a:gd name="T54" fmla="*/ 385 w 1571"/>
                <a:gd name="T55" fmla="*/ 31 h 257"/>
                <a:gd name="T56" fmla="*/ 385 w 1571"/>
                <a:gd name="T57" fmla="*/ 126 h 257"/>
                <a:gd name="T58" fmla="*/ 320 w 1571"/>
                <a:gd name="T59" fmla="*/ 154 h 257"/>
                <a:gd name="T60" fmla="*/ 467 w 1571"/>
                <a:gd name="T61" fmla="*/ 79 h 257"/>
                <a:gd name="T62" fmla="*/ 289 w 1571"/>
                <a:gd name="T63" fmla="*/ 4 h 257"/>
                <a:gd name="T64" fmla="*/ 320 w 1571"/>
                <a:gd name="T65" fmla="*/ 252 h 257"/>
                <a:gd name="T66" fmla="*/ 187 w 1571"/>
                <a:gd name="T67" fmla="*/ 184 h 257"/>
                <a:gd name="T68" fmla="*/ 91 w 1571"/>
                <a:gd name="T69" fmla="*/ 28 h 257"/>
                <a:gd name="T70" fmla="*/ 181 w 1571"/>
                <a:gd name="T71" fmla="*/ 35 h 257"/>
                <a:gd name="T72" fmla="*/ 8 w 1571"/>
                <a:gd name="T73" fmla="*/ 69 h 257"/>
                <a:gd name="T74" fmla="*/ 97 w 1571"/>
                <a:gd name="T75" fmla="*/ 229 h 257"/>
                <a:gd name="T76" fmla="*/ 0 w 1571"/>
                <a:gd name="T77" fmla="*/ 217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571" h="257">
                  <a:moveTo>
                    <a:pt x="1505" y="170"/>
                  </a:moveTo>
                  <a:cubicBezTo>
                    <a:pt x="1399" y="170"/>
                    <a:pt x="1399" y="170"/>
                    <a:pt x="1399" y="170"/>
                  </a:cubicBezTo>
                  <a:cubicBezTo>
                    <a:pt x="1452" y="36"/>
                    <a:pt x="1452" y="36"/>
                    <a:pt x="1452" y="36"/>
                  </a:cubicBezTo>
                  <a:lnTo>
                    <a:pt x="1505" y="170"/>
                  </a:lnTo>
                  <a:close/>
                  <a:moveTo>
                    <a:pt x="1571" y="252"/>
                  </a:moveTo>
                  <a:cubicBezTo>
                    <a:pt x="1471" y="4"/>
                    <a:pt x="1471" y="4"/>
                    <a:pt x="1471" y="4"/>
                  </a:cubicBezTo>
                  <a:cubicBezTo>
                    <a:pt x="1433" y="4"/>
                    <a:pt x="1433" y="4"/>
                    <a:pt x="1433" y="4"/>
                  </a:cubicBezTo>
                  <a:cubicBezTo>
                    <a:pt x="1333" y="252"/>
                    <a:pt x="1333" y="252"/>
                    <a:pt x="1333" y="252"/>
                  </a:cubicBezTo>
                  <a:cubicBezTo>
                    <a:pt x="1368" y="252"/>
                    <a:pt x="1368" y="252"/>
                    <a:pt x="1368" y="252"/>
                  </a:cubicBezTo>
                  <a:cubicBezTo>
                    <a:pt x="1390" y="197"/>
                    <a:pt x="1390" y="197"/>
                    <a:pt x="1390" y="197"/>
                  </a:cubicBezTo>
                  <a:cubicBezTo>
                    <a:pt x="1514" y="197"/>
                    <a:pt x="1514" y="197"/>
                    <a:pt x="1514" y="197"/>
                  </a:cubicBezTo>
                  <a:cubicBezTo>
                    <a:pt x="1536" y="252"/>
                    <a:pt x="1536" y="252"/>
                    <a:pt x="1536" y="252"/>
                  </a:cubicBezTo>
                  <a:lnTo>
                    <a:pt x="1571" y="252"/>
                  </a:lnTo>
                  <a:close/>
                  <a:moveTo>
                    <a:pt x="1208" y="252"/>
                  </a:moveTo>
                  <a:cubicBezTo>
                    <a:pt x="1208" y="31"/>
                    <a:pt x="1208" y="31"/>
                    <a:pt x="1208" y="31"/>
                  </a:cubicBezTo>
                  <a:cubicBezTo>
                    <a:pt x="1287" y="31"/>
                    <a:pt x="1287" y="31"/>
                    <a:pt x="1287" y="31"/>
                  </a:cubicBezTo>
                  <a:cubicBezTo>
                    <a:pt x="1287" y="4"/>
                    <a:pt x="1287" y="4"/>
                    <a:pt x="1287" y="4"/>
                  </a:cubicBezTo>
                  <a:cubicBezTo>
                    <a:pt x="1098" y="4"/>
                    <a:pt x="1098" y="4"/>
                    <a:pt x="1098" y="4"/>
                  </a:cubicBezTo>
                  <a:cubicBezTo>
                    <a:pt x="1098" y="31"/>
                    <a:pt x="1098" y="31"/>
                    <a:pt x="1098" y="31"/>
                  </a:cubicBezTo>
                  <a:cubicBezTo>
                    <a:pt x="1177" y="31"/>
                    <a:pt x="1177" y="31"/>
                    <a:pt x="1177" y="31"/>
                  </a:cubicBezTo>
                  <a:cubicBezTo>
                    <a:pt x="1177" y="252"/>
                    <a:pt x="1177" y="252"/>
                    <a:pt x="1177" y="252"/>
                  </a:cubicBezTo>
                  <a:lnTo>
                    <a:pt x="1208" y="252"/>
                  </a:lnTo>
                  <a:close/>
                  <a:moveTo>
                    <a:pt x="932" y="126"/>
                  </a:moveTo>
                  <a:cubicBezTo>
                    <a:pt x="867" y="126"/>
                    <a:pt x="867" y="126"/>
                    <a:pt x="867" y="126"/>
                  </a:cubicBezTo>
                  <a:cubicBezTo>
                    <a:pt x="867" y="31"/>
                    <a:pt x="867" y="31"/>
                    <a:pt x="867" y="31"/>
                  </a:cubicBezTo>
                  <a:cubicBezTo>
                    <a:pt x="932" y="31"/>
                    <a:pt x="932" y="31"/>
                    <a:pt x="932" y="31"/>
                  </a:cubicBezTo>
                  <a:cubicBezTo>
                    <a:pt x="962" y="31"/>
                    <a:pt x="982" y="51"/>
                    <a:pt x="982" y="79"/>
                  </a:cubicBezTo>
                  <a:cubicBezTo>
                    <a:pt x="982" y="107"/>
                    <a:pt x="962" y="126"/>
                    <a:pt x="932" y="126"/>
                  </a:cubicBezTo>
                  <a:close/>
                  <a:moveTo>
                    <a:pt x="1017" y="252"/>
                  </a:moveTo>
                  <a:cubicBezTo>
                    <a:pt x="950" y="151"/>
                    <a:pt x="950" y="151"/>
                    <a:pt x="950" y="151"/>
                  </a:cubicBezTo>
                  <a:cubicBezTo>
                    <a:pt x="984" y="148"/>
                    <a:pt x="1014" y="123"/>
                    <a:pt x="1014" y="79"/>
                  </a:cubicBezTo>
                  <a:cubicBezTo>
                    <a:pt x="1014" y="33"/>
                    <a:pt x="982" y="4"/>
                    <a:pt x="936" y="4"/>
                  </a:cubicBezTo>
                  <a:cubicBezTo>
                    <a:pt x="836" y="4"/>
                    <a:pt x="836" y="4"/>
                    <a:pt x="836" y="4"/>
                  </a:cubicBezTo>
                  <a:cubicBezTo>
                    <a:pt x="836" y="252"/>
                    <a:pt x="836" y="252"/>
                    <a:pt x="836" y="252"/>
                  </a:cubicBezTo>
                  <a:cubicBezTo>
                    <a:pt x="867" y="252"/>
                    <a:pt x="867" y="252"/>
                    <a:pt x="867" y="252"/>
                  </a:cubicBezTo>
                  <a:cubicBezTo>
                    <a:pt x="867" y="154"/>
                    <a:pt x="867" y="154"/>
                    <a:pt x="867" y="154"/>
                  </a:cubicBezTo>
                  <a:cubicBezTo>
                    <a:pt x="917" y="154"/>
                    <a:pt x="917" y="154"/>
                    <a:pt x="917" y="154"/>
                  </a:cubicBezTo>
                  <a:cubicBezTo>
                    <a:pt x="980" y="252"/>
                    <a:pt x="980" y="252"/>
                    <a:pt x="980" y="252"/>
                  </a:cubicBezTo>
                  <a:lnTo>
                    <a:pt x="1017" y="252"/>
                  </a:lnTo>
                  <a:close/>
                  <a:moveTo>
                    <a:pt x="681" y="170"/>
                  </a:moveTo>
                  <a:cubicBezTo>
                    <a:pt x="576" y="170"/>
                    <a:pt x="576" y="170"/>
                    <a:pt x="576" y="170"/>
                  </a:cubicBezTo>
                  <a:cubicBezTo>
                    <a:pt x="629" y="36"/>
                    <a:pt x="629" y="36"/>
                    <a:pt x="629" y="36"/>
                  </a:cubicBezTo>
                  <a:lnTo>
                    <a:pt x="681" y="170"/>
                  </a:lnTo>
                  <a:close/>
                  <a:moveTo>
                    <a:pt x="748" y="252"/>
                  </a:moveTo>
                  <a:cubicBezTo>
                    <a:pt x="648" y="4"/>
                    <a:pt x="648" y="4"/>
                    <a:pt x="648" y="4"/>
                  </a:cubicBezTo>
                  <a:cubicBezTo>
                    <a:pt x="609" y="4"/>
                    <a:pt x="609" y="4"/>
                    <a:pt x="609" y="4"/>
                  </a:cubicBezTo>
                  <a:cubicBezTo>
                    <a:pt x="509" y="252"/>
                    <a:pt x="509" y="252"/>
                    <a:pt x="509" y="252"/>
                  </a:cubicBezTo>
                  <a:cubicBezTo>
                    <a:pt x="545" y="252"/>
                    <a:pt x="545" y="252"/>
                    <a:pt x="545" y="252"/>
                  </a:cubicBezTo>
                  <a:cubicBezTo>
                    <a:pt x="567" y="197"/>
                    <a:pt x="567" y="197"/>
                    <a:pt x="567" y="197"/>
                  </a:cubicBezTo>
                  <a:cubicBezTo>
                    <a:pt x="691" y="197"/>
                    <a:pt x="691" y="197"/>
                    <a:pt x="691" y="197"/>
                  </a:cubicBezTo>
                  <a:cubicBezTo>
                    <a:pt x="713" y="252"/>
                    <a:pt x="713" y="252"/>
                    <a:pt x="713" y="252"/>
                  </a:cubicBezTo>
                  <a:lnTo>
                    <a:pt x="748" y="252"/>
                  </a:lnTo>
                  <a:close/>
                  <a:moveTo>
                    <a:pt x="385" y="126"/>
                  </a:moveTo>
                  <a:cubicBezTo>
                    <a:pt x="320" y="126"/>
                    <a:pt x="320" y="126"/>
                    <a:pt x="320" y="126"/>
                  </a:cubicBezTo>
                  <a:cubicBezTo>
                    <a:pt x="320" y="31"/>
                    <a:pt x="320" y="31"/>
                    <a:pt x="320" y="31"/>
                  </a:cubicBezTo>
                  <a:cubicBezTo>
                    <a:pt x="385" y="31"/>
                    <a:pt x="385" y="31"/>
                    <a:pt x="385" y="31"/>
                  </a:cubicBezTo>
                  <a:cubicBezTo>
                    <a:pt x="415" y="31"/>
                    <a:pt x="435" y="51"/>
                    <a:pt x="435" y="79"/>
                  </a:cubicBezTo>
                  <a:cubicBezTo>
                    <a:pt x="435" y="107"/>
                    <a:pt x="415" y="126"/>
                    <a:pt x="385" y="126"/>
                  </a:cubicBezTo>
                  <a:close/>
                  <a:moveTo>
                    <a:pt x="320" y="252"/>
                  </a:moveTo>
                  <a:cubicBezTo>
                    <a:pt x="320" y="154"/>
                    <a:pt x="320" y="154"/>
                    <a:pt x="320" y="154"/>
                  </a:cubicBezTo>
                  <a:cubicBezTo>
                    <a:pt x="389" y="154"/>
                    <a:pt x="389" y="154"/>
                    <a:pt x="389" y="154"/>
                  </a:cubicBezTo>
                  <a:cubicBezTo>
                    <a:pt x="438" y="154"/>
                    <a:pt x="467" y="119"/>
                    <a:pt x="467" y="79"/>
                  </a:cubicBezTo>
                  <a:cubicBezTo>
                    <a:pt x="467" y="38"/>
                    <a:pt x="439" y="4"/>
                    <a:pt x="389" y="4"/>
                  </a:cubicBezTo>
                  <a:cubicBezTo>
                    <a:pt x="289" y="4"/>
                    <a:pt x="289" y="4"/>
                    <a:pt x="289" y="4"/>
                  </a:cubicBezTo>
                  <a:cubicBezTo>
                    <a:pt x="289" y="252"/>
                    <a:pt x="289" y="252"/>
                    <a:pt x="289" y="252"/>
                  </a:cubicBezTo>
                  <a:lnTo>
                    <a:pt x="320" y="252"/>
                  </a:lnTo>
                  <a:close/>
                  <a:moveTo>
                    <a:pt x="95" y="257"/>
                  </a:moveTo>
                  <a:cubicBezTo>
                    <a:pt x="162" y="257"/>
                    <a:pt x="187" y="220"/>
                    <a:pt x="187" y="184"/>
                  </a:cubicBezTo>
                  <a:cubicBezTo>
                    <a:pt x="187" y="91"/>
                    <a:pt x="40" y="123"/>
                    <a:pt x="40" y="67"/>
                  </a:cubicBezTo>
                  <a:cubicBezTo>
                    <a:pt x="40" y="44"/>
                    <a:pt x="61" y="28"/>
                    <a:pt x="91" y="28"/>
                  </a:cubicBezTo>
                  <a:cubicBezTo>
                    <a:pt x="118" y="28"/>
                    <a:pt x="144" y="37"/>
                    <a:pt x="163" y="57"/>
                  </a:cubicBezTo>
                  <a:cubicBezTo>
                    <a:pt x="181" y="35"/>
                    <a:pt x="181" y="35"/>
                    <a:pt x="181" y="35"/>
                  </a:cubicBezTo>
                  <a:cubicBezTo>
                    <a:pt x="161" y="13"/>
                    <a:pt x="131" y="0"/>
                    <a:pt x="93" y="0"/>
                  </a:cubicBezTo>
                  <a:cubicBezTo>
                    <a:pt x="44" y="0"/>
                    <a:pt x="8" y="28"/>
                    <a:pt x="8" y="69"/>
                  </a:cubicBezTo>
                  <a:cubicBezTo>
                    <a:pt x="8" y="158"/>
                    <a:pt x="155" y="122"/>
                    <a:pt x="155" y="186"/>
                  </a:cubicBezTo>
                  <a:cubicBezTo>
                    <a:pt x="155" y="205"/>
                    <a:pt x="141" y="229"/>
                    <a:pt x="97" y="229"/>
                  </a:cubicBezTo>
                  <a:cubicBezTo>
                    <a:pt x="61" y="229"/>
                    <a:pt x="35" y="212"/>
                    <a:pt x="18" y="194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20" y="240"/>
                    <a:pt x="52" y="257"/>
                    <a:pt x="95" y="257"/>
                  </a:cubicBezTo>
                  <a:close/>
                </a:path>
              </a:pathLst>
            </a:custGeom>
            <a:solidFill>
              <a:srgbClr val="0101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FBF4878D-720F-47B1-9E2E-A6A1C3FB6A77}"/>
              </a:ext>
            </a:extLst>
          </p:cNvPr>
          <p:cNvGrpSpPr/>
          <p:nvPr userDrawn="1"/>
        </p:nvGrpSpPr>
        <p:grpSpPr>
          <a:xfrm>
            <a:off x="1" y="1588"/>
            <a:ext cx="5521325" cy="6856412"/>
            <a:chOff x="1" y="1588"/>
            <a:chExt cx="5521325" cy="6856412"/>
          </a:xfrm>
        </p:grpSpPr>
        <p:sp>
          <p:nvSpPr>
            <p:cNvPr id="53" name="Freeform 5">
              <a:extLst>
                <a:ext uri="{FF2B5EF4-FFF2-40B4-BE49-F238E27FC236}">
                  <a16:creationId xmlns:a16="http://schemas.microsoft.com/office/drawing/2014/main" id="{2BC8DC07-8A63-4B43-9A04-AC8C0BB6B207}"/>
                </a:ext>
              </a:extLst>
            </p:cNvPr>
            <p:cNvSpPr>
              <a:spLocks/>
            </p:cNvSpPr>
            <p:nvPr/>
          </p:nvSpPr>
          <p:spPr bwMode="auto">
            <a:xfrm>
              <a:off x="1" y="1588"/>
              <a:ext cx="5172075" cy="6856412"/>
            </a:xfrm>
            <a:custGeom>
              <a:avLst/>
              <a:gdLst>
                <a:gd name="T0" fmla="*/ 0 w 3258"/>
                <a:gd name="T1" fmla="*/ 0 h 4319"/>
                <a:gd name="T2" fmla="*/ 1739 w 3258"/>
                <a:gd name="T3" fmla="*/ 0 h 4319"/>
                <a:gd name="T4" fmla="*/ 2581 w 3258"/>
                <a:gd name="T5" fmla="*/ 699 h 4319"/>
                <a:gd name="T6" fmla="*/ 3258 w 3258"/>
                <a:gd name="T7" fmla="*/ 1888 h 4319"/>
                <a:gd name="T8" fmla="*/ 2643 w 3258"/>
                <a:gd name="T9" fmla="*/ 4319 h 4319"/>
                <a:gd name="T10" fmla="*/ 0 w 3258"/>
                <a:gd name="T11" fmla="*/ 4319 h 4319"/>
                <a:gd name="T12" fmla="*/ 0 w 3258"/>
                <a:gd name="T13" fmla="*/ 0 h 4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58" h="4319">
                  <a:moveTo>
                    <a:pt x="0" y="0"/>
                  </a:moveTo>
                  <a:lnTo>
                    <a:pt x="1739" y="0"/>
                  </a:lnTo>
                  <a:lnTo>
                    <a:pt x="2581" y="699"/>
                  </a:lnTo>
                  <a:lnTo>
                    <a:pt x="3258" y="1888"/>
                  </a:lnTo>
                  <a:lnTo>
                    <a:pt x="2643" y="4319"/>
                  </a:lnTo>
                  <a:lnTo>
                    <a:pt x="0" y="431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C20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6">
              <a:extLst>
                <a:ext uri="{FF2B5EF4-FFF2-40B4-BE49-F238E27FC236}">
                  <a16:creationId xmlns:a16="http://schemas.microsoft.com/office/drawing/2014/main" id="{66263C1F-34A4-4045-BA8F-6CBE232A12FF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0663" y="1588"/>
              <a:ext cx="1336675" cy="1109662"/>
            </a:xfrm>
            <a:custGeom>
              <a:avLst/>
              <a:gdLst>
                <a:gd name="T0" fmla="*/ 842 w 842"/>
                <a:gd name="T1" fmla="*/ 699 h 699"/>
                <a:gd name="T2" fmla="*/ 443 w 842"/>
                <a:gd name="T3" fmla="*/ 0 h 699"/>
                <a:gd name="T4" fmla="*/ 0 w 842"/>
                <a:gd name="T5" fmla="*/ 0 h 699"/>
                <a:gd name="T6" fmla="*/ 842 w 842"/>
                <a:gd name="T7" fmla="*/ 699 h 6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42" h="699">
                  <a:moveTo>
                    <a:pt x="842" y="699"/>
                  </a:moveTo>
                  <a:lnTo>
                    <a:pt x="443" y="0"/>
                  </a:lnTo>
                  <a:lnTo>
                    <a:pt x="0" y="0"/>
                  </a:lnTo>
                  <a:lnTo>
                    <a:pt x="842" y="699"/>
                  </a:lnTo>
                  <a:close/>
                </a:path>
              </a:pathLst>
            </a:custGeom>
            <a:solidFill>
              <a:srgbClr val="F9AC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7">
              <a:extLst>
                <a:ext uri="{FF2B5EF4-FFF2-40B4-BE49-F238E27FC236}">
                  <a16:creationId xmlns:a16="http://schemas.microsoft.com/office/drawing/2014/main" id="{5F7B420C-29AD-47BA-B4FC-425F316F731E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9412" y="1588"/>
              <a:ext cx="1306513" cy="1670050"/>
            </a:xfrm>
            <a:custGeom>
              <a:avLst/>
              <a:gdLst>
                <a:gd name="T0" fmla="*/ 0 w 823"/>
                <a:gd name="T1" fmla="*/ 0 h 1052"/>
                <a:gd name="T2" fmla="*/ 399 w 823"/>
                <a:gd name="T3" fmla="*/ 699 h 1052"/>
                <a:gd name="T4" fmla="*/ 823 w 823"/>
                <a:gd name="T5" fmla="*/ 1052 h 1052"/>
                <a:gd name="T6" fmla="*/ 531 w 823"/>
                <a:gd name="T7" fmla="*/ 0 h 1052"/>
                <a:gd name="T8" fmla="*/ 0 w 823"/>
                <a:gd name="T9" fmla="*/ 0 h 10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23" h="1052">
                  <a:moveTo>
                    <a:pt x="0" y="0"/>
                  </a:moveTo>
                  <a:lnTo>
                    <a:pt x="399" y="699"/>
                  </a:lnTo>
                  <a:lnTo>
                    <a:pt x="823" y="1052"/>
                  </a:lnTo>
                  <a:lnTo>
                    <a:pt x="53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47D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8">
              <a:extLst>
                <a:ext uri="{FF2B5EF4-FFF2-40B4-BE49-F238E27FC236}">
                  <a16:creationId xmlns:a16="http://schemas.microsoft.com/office/drawing/2014/main" id="{73ECB502-E43F-4A9F-A841-374F73B9934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7338" y="1111250"/>
              <a:ext cx="1009650" cy="1774825"/>
            </a:xfrm>
            <a:custGeom>
              <a:avLst/>
              <a:gdLst>
                <a:gd name="T0" fmla="*/ 424 w 636"/>
                <a:gd name="T1" fmla="*/ 353 h 1118"/>
                <a:gd name="T2" fmla="*/ 0 w 636"/>
                <a:gd name="T3" fmla="*/ 0 h 1118"/>
                <a:gd name="T4" fmla="*/ 636 w 636"/>
                <a:gd name="T5" fmla="*/ 1118 h 1118"/>
                <a:gd name="T6" fmla="*/ 424 w 636"/>
                <a:gd name="T7" fmla="*/ 353 h 1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36" h="1118">
                  <a:moveTo>
                    <a:pt x="424" y="353"/>
                  </a:moveTo>
                  <a:lnTo>
                    <a:pt x="0" y="0"/>
                  </a:lnTo>
                  <a:lnTo>
                    <a:pt x="636" y="1118"/>
                  </a:lnTo>
                  <a:lnTo>
                    <a:pt x="424" y="353"/>
                  </a:lnTo>
                  <a:close/>
                </a:path>
              </a:pathLst>
            </a:custGeom>
            <a:solidFill>
              <a:srgbClr val="F155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9">
              <a:extLst>
                <a:ext uri="{FF2B5EF4-FFF2-40B4-BE49-F238E27FC236}">
                  <a16:creationId xmlns:a16="http://schemas.microsoft.com/office/drawing/2014/main" id="{7749B455-5B80-4FFF-ADAF-56ECD7D231F9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0438" y="1671638"/>
              <a:ext cx="750888" cy="1327150"/>
            </a:xfrm>
            <a:custGeom>
              <a:avLst/>
              <a:gdLst>
                <a:gd name="T0" fmla="*/ 0 w 473"/>
                <a:gd name="T1" fmla="*/ 0 h 836"/>
                <a:gd name="T2" fmla="*/ 212 w 473"/>
                <a:gd name="T3" fmla="*/ 765 h 836"/>
                <a:gd name="T4" fmla="*/ 253 w 473"/>
                <a:gd name="T5" fmla="*/ 836 h 836"/>
                <a:gd name="T6" fmla="*/ 473 w 473"/>
                <a:gd name="T7" fmla="*/ 393 h 836"/>
                <a:gd name="T8" fmla="*/ 0 w 473"/>
                <a:gd name="T9" fmla="*/ 0 h 8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3" h="836">
                  <a:moveTo>
                    <a:pt x="0" y="0"/>
                  </a:moveTo>
                  <a:lnTo>
                    <a:pt x="212" y="765"/>
                  </a:lnTo>
                  <a:lnTo>
                    <a:pt x="253" y="836"/>
                  </a:lnTo>
                  <a:lnTo>
                    <a:pt x="473" y="39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9AC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10">
              <a:extLst>
                <a:ext uri="{FF2B5EF4-FFF2-40B4-BE49-F238E27FC236}">
                  <a16:creationId xmlns:a16="http://schemas.microsoft.com/office/drawing/2014/main" id="{DB26BAC0-B64F-494B-AF8F-FFE4AB2C1462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9701" y="3040063"/>
              <a:ext cx="1412875" cy="2417762"/>
            </a:xfrm>
            <a:custGeom>
              <a:avLst/>
              <a:gdLst>
                <a:gd name="T0" fmla="*/ 756 w 890"/>
                <a:gd name="T1" fmla="*/ 0 h 1523"/>
                <a:gd name="T2" fmla="*/ 0 w 890"/>
                <a:gd name="T3" fmla="*/ 1523 h 1523"/>
                <a:gd name="T4" fmla="*/ 890 w 890"/>
                <a:gd name="T5" fmla="*/ 477 h 1523"/>
                <a:gd name="T6" fmla="*/ 756 w 890"/>
                <a:gd name="T7" fmla="*/ 0 h 1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90" h="1523">
                  <a:moveTo>
                    <a:pt x="756" y="0"/>
                  </a:moveTo>
                  <a:lnTo>
                    <a:pt x="0" y="1523"/>
                  </a:lnTo>
                  <a:lnTo>
                    <a:pt x="890" y="477"/>
                  </a:lnTo>
                  <a:lnTo>
                    <a:pt x="756" y="0"/>
                  </a:lnTo>
                  <a:close/>
                </a:path>
              </a:pathLst>
            </a:custGeom>
            <a:solidFill>
              <a:srgbClr val="F155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11">
              <a:extLst>
                <a:ext uri="{FF2B5EF4-FFF2-40B4-BE49-F238E27FC236}">
                  <a16:creationId xmlns:a16="http://schemas.microsoft.com/office/drawing/2014/main" id="{3CAF808D-4DA7-42A6-96CA-F970AF5AFEDA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9093" y="2998788"/>
              <a:ext cx="371475" cy="798512"/>
            </a:xfrm>
            <a:custGeom>
              <a:avLst/>
              <a:gdLst>
                <a:gd name="T0" fmla="*/ 0 w 234"/>
                <a:gd name="T1" fmla="*/ 26 h 503"/>
                <a:gd name="T2" fmla="*/ 134 w 234"/>
                <a:gd name="T3" fmla="*/ 503 h 503"/>
                <a:gd name="T4" fmla="*/ 234 w 234"/>
                <a:gd name="T5" fmla="*/ 386 h 503"/>
                <a:gd name="T6" fmla="*/ 14 w 234"/>
                <a:gd name="T7" fmla="*/ 0 h 503"/>
                <a:gd name="T8" fmla="*/ 0 w 234"/>
                <a:gd name="T9" fmla="*/ 26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4" h="503">
                  <a:moveTo>
                    <a:pt x="0" y="26"/>
                  </a:moveTo>
                  <a:lnTo>
                    <a:pt x="134" y="503"/>
                  </a:lnTo>
                  <a:lnTo>
                    <a:pt x="234" y="386"/>
                  </a:lnTo>
                  <a:lnTo>
                    <a:pt x="14" y="0"/>
                  </a:lnTo>
                  <a:lnTo>
                    <a:pt x="0" y="26"/>
                  </a:lnTo>
                  <a:close/>
                </a:path>
              </a:pathLst>
            </a:custGeom>
            <a:solidFill>
              <a:srgbClr val="D025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12">
              <a:extLst>
                <a:ext uri="{FF2B5EF4-FFF2-40B4-BE49-F238E27FC236}">
                  <a16:creationId xmlns:a16="http://schemas.microsoft.com/office/drawing/2014/main" id="{21D44EF5-0340-4C5D-87A9-58925887FC88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4376" y="3797300"/>
              <a:ext cx="2266950" cy="3060700"/>
            </a:xfrm>
            <a:custGeom>
              <a:avLst/>
              <a:gdLst>
                <a:gd name="T0" fmla="*/ 1328 w 1428"/>
                <a:gd name="T1" fmla="*/ 0 h 1928"/>
                <a:gd name="T2" fmla="*/ 438 w 1428"/>
                <a:gd name="T3" fmla="*/ 1046 h 1928"/>
                <a:gd name="T4" fmla="*/ 0 w 1428"/>
                <a:gd name="T5" fmla="*/ 1928 h 1928"/>
                <a:gd name="T6" fmla="*/ 593 w 1428"/>
                <a:gd name="T7" fmla="*/ 1928 h 1928"/>
                <a:gd name="T8" fmla="*/ 1428 w 1428"/>
                <a:gd name="T9" fmla="*/ 363 h 1928"/>
                <a:gd name="T10" fmla="*/ 1328 w 1428"/>
                <a:gd name="T11" fmla="*/ 0 h 19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28" h="1928">
                  <a:moveTo>
                    <a:pt x="1328" y="0"/>
                  </a:moveTo>
                  <a:lnTo>
                    <a:pt x="438" y="1046"/>
                  </a:lnTo>
                  <a:lnTo>
                    <a:pt x="0" y="1928"/>
                  </a:lnTo>
                  <a:lnTo>
                    <a:pt x="593" y="1928"/>
                  </a:lnTo>
                  <a:lnTo>
                    <a:pt x="1428" y="363"/>
                  </a:lnTo>
                  <a:lnTo>
                    <a:pt x="1328" y="0"/>
                  </a:lnTo>
                  <a:close/>
                </a:path>
              </a:pathLst>
            </a:custGeom>
            <a:solidFill>
              <a:srgbClr val="931A1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13">
              <a:extLst>
                <a:ext uri="{FF2B5EF4-FFF2-40B4-BE49-F238E27FC236}">
                  <a16:creationId xmlns:a16="http://schemas.microsoft.com/office/drawing/2014/main" id="{C0E81B97-8A2B-498C-A282-2AB70242BA5C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0663" y="5457825"/>
              <a:ext cx="1189038" cy="1400175"/>
            </a:xfrm>
            <a:custGeom>
              <a:avLst/>
              <a:gdLst>
                <a:gd name="T0" fmla="*/ 311 w 749"/>
                <a:gd name="T1" fmla="*/ 882 h 882"/>
                <a:gd name="T2" fmla="*/ 749 w 749"/>
                <a:gd name="T3" fmla="*/ 0 h 882"/>
                <a:gd name="T4" fmla="*/ 0 w 749"/>
                <a:gd name="T5" fmla="*/ 882 h 882"/>
                <a:gd name="T6" fmla="*/ 311 w 749"/>
                <a:gd name="T7" fmla="*/ 882 h 8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49" h="882">
                  <a:moveTo>
                    <a:pt x="311" y="882"/>
                  </a:moveTo>
                  <a:lnTo>
                    <a:pt x="749" y="0"/>
                  </a:lnTo>
                  <a:lnTo>
                    <a:pt x="0" y="882"/>
                  </a:lnTo>
                  <a:lnTo>
                    <a:pt x="311" y="882"/>
                  </a:lnTo>
                  <a:close/>
                </a:path>
              </a:pathLst>
            </a:custGeom>
            <a:solidFill>
              <a:srgbClr val="F47D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DBB71643-D28A-437E-AA77-16BA271E9FA3}"/>
              </a:ext>
            </a:extLst>
          </p:cNvPr>
          <p:cNvGrpSpPr>
            <a:grpSpLocks/>
          </p:cNvGrpSpPr>
          <p:nvPr userDrawn="1"/>
        </p:nvGrpSpPr>
        <p:grpSpPr>
          <a:xfrm>
            <a:off x="6253390" y="1378143"/>
            <a:ext cx="2445002" cy="586989"/>
            <a:chOff x="4124325" y="4591050"/>
            <a:chExt cx="2479675" cy="595313"/>
          </a:xfrm>
        </p:grpSpPr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50C495B0-4D89-4302-A4D3-39E7C6CB6544}"/>
                </a:ext>
              </a:extLst>
            </p:cNvPr>
            <p:cNvGrpSpPr/>
            <p:nvPr/>
          </p:nvGrpSpPr>
          <p:grpSpPr>
            <a:xfrm>
              <a:off x="4124325" y="4591050"/>
              <a:ext cx="460375" cy="595313"/>
              <a:chOff x="4124325" y="4591050"/>
              <a:chExt cx="460375" cy="595313"/>
            </a:xfrm>
          </p:grpSpPr>
          <p:sp>
            <p:nvSpPr>
              <p:cNvPr id="65" name="Freeform 25">
                <a:extLst>
                  <a:ext uri="{FF2B5EF4-FFF2-40B4-BE49-F238E27FC236}">
                    <a16:creationId xmlns:a16="http://schemas.microsoft.com/office/drawing/2014/main" id="{EADA5A39-359F-4FE5-A8D4-3751597221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4325" y="4983163"/>
                <a:ext cx="457200" cy="203200"/>
              </a:xfrm>
              <a:custGeom>
                <a:avLst/>
                <a:gdLst>
                  <a:gd name="T0" fmla="*/ 143 w 288"/>
                  <a:gd name="T1" fmla="*/ 66 h 128"/>
                  <a:gd name="T2" fmla="*/ 228 w 288"/>
                  <a:gd name="T3" fmla="*/ 23 h 128"/>
                  <a:gd name="T4" fmla="*/ 283 w 288"/>
                  <a:gd name="T5" fmla="*/ 0 h 128"/>
                  <a:gd name="T6" fmla="*/ 288 w 288"/>
                  <a:gd name="T7" fmla="*/ 3 h 128"/>
                  <a:gd name="T8" fmla="*/ 283 w 288"/>
                  <a:gd name="T9" fmla="*/ 62 h 128"/>
                  <a:gd name="T10" fmla="*/ 156 w 288"/>
                  <a:gd name="T11" fmla="*/ 128 h 128"/>
                  <a:gd name="T12" fmla="*/ 131 w 288"/>
                  <a:gd name="T13" fmla="*/ 128 h 128"/>
                  <a:gd name="T14" fmla="*/ 4 w 288"/>
                  <a:gd name="T15" fmla="*/ 62 h 128"/>
                  <a:gd name="T16" fmla="*/ 0 w 288"/>
                  <a:gd name="T17" fmla="*/ 3 h 128"/>
                  <a:gd name="T18" fmla="*/ 4 w 288"/>
                  <a:gd name="T19" fmla="*/ 0 h 128"/>
                  <a:gd name="T20" fmla="*/ 59 w 288"/>
                  <a:gd name="T21" fmla="*/ 23 h 128"/>
                  <a:gd name="T22" fmla="*/ 143 w 288"/>
                  <a:gd name="T23" fmla="*/ 66 h 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88" h="128">
                    <a:moveTo>
                      <a:pt x="143" y="66"/>
                    </a:moveTo>
                    <a:lnTo>
                      <a:pt x="228" y="23"/>
                    </a:lnTo>
                    <a:lnTo>
                      <a:pt x="283" y="0"/>
                    </a:lnTo>
                    <a:lnTo>
                      <a:pt x="288" y="3"/>
                    </a:lnTo>
                    <a:lnTo>
                      <a:pt x="283" y="62"/>
                    </a:lnTo>
                    <a:lnTo>
                      <a:pt x="156" y="128"/>
                    </a:lnTo>
                    <a:lnTo>
                      <a:pt x="131" y="128"/>
                    </a:lnTo>
                    <a:lnTo>
                      <a:pt x="4" y="62"/>
                    </a:lnTo>
                    <a:lnTo>
                      <a:pt x="0" y="3"/>
                    </a:lnTo>
                    <a:lnTo>
                      <a:pt x="4" y="0"/>
                    </a:lnTo>
                    <a:lnTo>
                      <a:pt x="59" y="23"/>
                    </a:lnTo>
                    <a:lnTo>
                      <a:pt x="143" y="66"/>
                    </a:lnTo>
                    <a:close/>
                  </a:path>
                </a:pathLst>
              </a:custGeom>
              <a:solidFill>
                <a:srgbClr val="F155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6">
                <a:extLst>
                  <a:ext uri="{FF2B5EF4-FFF2-40B4-BE49-F238E27FC236}">
                    <a16:creationId xmlns:a16="http://schemas.microsoft.com/office/drawing/2014/main" id="{C7B4DF44-2AB4-4545-A5B3-B1BB8583CD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4325" y="4689475"/>
                <a:ext cx="457200" cy="403225"/>
              </a:xfrm>
              <a:custGeom>
                <a:avLst/>
                <a:gdLst>
                  <a:gd name="T0" fmla="*/ 288 w 288"/>
                  <a:gd name="T1" fmla="*/ 188 h 254"/>
                  <a:gd name="T2" fmla="*/ 283 w 288"/>
                  <a:gd name="T3" fmla="*/ 247 h 254"/>
                  <a:gd name="T4" fmla="*/ 270 w 288"/>
                  <a:gd name="T5" fmla="*/ 254 h 254"/>
                  <a:gd name="T6" fmla="*/ 0 w 288"/>
                  <a:gd name="T7" fmla="*/ 17 h 254"/>
                  <a:gd name="T8" fmla="*/ 0 w 288"/>
                  <a:gd name="T9" fmla="*/ 11 h 254"/>
                  <a:gd name="T10" fmla="*/ 72 w 288"/>
                  <a:gd name="T11" fmla="*/ 0 h 254"/>
                  <a:gd name="T12" fmla="*/ 288 w 288"/>
                  <a:gd name="T13" fmla="*/ 188 h 2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8" h="254">
                    <a:moveTo>
                      <a:pt x="288" y="188"/>
                    </a:moveTo>
                    <a:lnTo>
                      <a:pt x="283" y="247"/>
                    </a:lnTo>
                    <a:lnTo>
                      <a:pt x="270" y="254"/>
                    </a:lnTo>
                    <a:lnTo>
                      <a:pt x="0" y="17"/>
                    </a:lnTo>
                    <a:lnTo>
                      <a:pt x="0" y="11"/>
                    </a:lnTo>
                    <a:lnTo>
                      <a:pt x="72" y="0"/>
                    </a:lnTo>
                    <a:lnTo>
                      <a:pt x="288" y="188"/>
                    </a:lnTo>
                    <a:close/>
                  </a:path>
                </a:pathLst>
              </a:custGeom>
              <a:solidFill>
                <a:srgbClr val="BC202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7">
                <a:extLst>
                  <a:ext uri="{FF2B5EF4-FFF2-40B4-BE49-F238E27FC236}">
                    <a16:creationId xmlns:a16="http://schemas.microsoft.com/office/drawing/2014/main" id="{633D114A-0F4F-45E7-B23D-1B3E3924FC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4325" y="4867275"/>
                <a:ext cx="209550" cy="225425"/>
              </a:xfrm>
              <a:custGeom>
                <a:avLst/>
                <a:gdLst>
                  <a:gd name="T0" fmla="*/ 17 w 132"/>
                  <a:gd name="T1" fmla="*/ 142 h 142"/>
                  <a:gd name="T2" fmla="*/ 4 w 132"/>
                  <a:gd name="T3" fmla="*/ 135 h 142"/>
                  <a:gd name="T4" fmla="*/ 0 w 132"/>
                  <a:gd name="T5" fmla="*/ 76 h 142"/>
                  <a:gd name="T6" fmla="*/ 86 w 132"/>
                  <a:gd name="T7" fmla="*/ 0 h 142"/>
                  <a:gd name="T8" fmla="*/ 132 w 132"/>
                  <a:gd name="T9" fmla="*/ 41 h 142"/>
                  <a:gd name="T10" fmla="*/ 17 w 132"/>
                  <a:gd name="T11" fmla="*/ 142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2" h="142">
                    <a:moveTo>
                      <a:pt x="17" y="142"/>
                    </a:moveTo>
                    <a:lnTo>
                      <a:pt x="4" y="135"/>
                    </a:lnTo>
                    <a:lnTo>
                      <a:pt x="0" y="76"/>
                    </a:lnTo>
                    <a:lnTo>
                      <a:pt x="86" y="0"/>
                    </a:lnTo>
                    <a:lnTo>
                      <a:pt x="132" y="41"/>
                    </a:lnTo>
                    <a:lnTo>
                      <a:pt x="17" y="142"/>
                    </a:lnTo>
                    <a:close/>
                  </a:path>
                </a:pathLst>
              </a:custGeom>
              <a:solidFill>
                <a:srgbClr val="931A1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8">
                <a:extLst>
                  <a:ext uri="{FF2B5EF4-FFF2-40B4-BE49-F238E27FC236}">
                    <a16:creationId xmlns:a16="http://schemas.microsoft.com/office/drawing/2014/main" id="{BC499D0A-0324-495D-9B8A-3CDFC892E2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4325" y="4591050"/>
                <a:ext cx="381000" cy="130175"/>
              </a:xfrm>
              <a:custGeom>
                <a:avLst/>
                <a:gdLst>
                  <a:gd name="T0" fmla="*/ 143 w 240"/>
                  <a:gd name="T1" fmla="*/ 60 h 82"/>
                  <a:gd name="T2" fmla="*/ 3 w 240"/>
                  <a:gd name="T3" fmla="*/ 82 h 82"/>
                  <a:gd name="T4" fmla="*/ 0 w 240"/>
                  <a:gd name="T5" fmla="*/ 79 h 82"/>
                  <a:gd name="T6" fmla="*/ 4 w 240"/>
                  <a:gd name="T7" fmla="*/ 21 h 82"/>
                  <a:gd name="T8" fmla="*/ 139 w 240"/>
                  <a:gd name="T9" fmla="*/ 0 h 82"/>
                  <a:gd name="T10" fmla="*/ 147 w 240"/>
                  <a:gd name="T11" fmla="*/ 0 h 82"/>
                  <a:gd name="T12" fmla="*/ 240 w 240"/>
                  <a:gd name="T13" fmla="*/ 14 h 82"/>
                  <a:gd name="T14" fmla="*/ 240 w 240"/>
                  <a:gd name="T15" fmla="*/ 76 h 82"/>
                  <a:gd name="T16" fmla="*/ 143 w 240"/>
                  <a:gd name="T17" fmla="*/ 60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40" h="82">
                    <a:moveTo>
                      <a:pt x="143" y="60"/>
                    </a:moveTo>
                    <a:lnTo>
                      <a:pt x="3" y="82"/>
                    </a:lnTo>
                    <a:lnTo>
                      <a:pt x="0" y="79"/>
                    </a:lnTo>
                    <a:lnTo>
                      <a:pt x="4" y="21"/>
                    </a:lnTo>
                    <a:lnTo>
                      <a:pt x="139" y="0"/>
                    </a:lnTo>
                    <a:lnTo>
                      <a:pt x="147" y="0"/>
                    </a:lnTo>
                    <a:lnTo>
                      <a:pt x="240" y="14"/>
                    </a:lnTo>
                    <a:lnTo>
                      <a:pt x="240" y="76"/>
                    </a:lnTo>
                    <a:lnTo>
                      <a:pt x="143" y="60"/>
                    </a:lnTo>
                    <a:close/>
                  </a:path>
                </a:pathLst>
              </a:custGeom>
              <a:solidFill>
                <a:srgbClr val="F47D6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9">
                <a:extLst>
                  <a:ext uri="{FF2B5EF4-FFF2-40B4-BE49-F238E27FC236}">
                    <a16:creationId xmlns:a16="http://schemas.microsoft.com/office/drawing/2014/main" id="{ECE92F99-E4AE-49DC-93CA-E75C9E6720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89450" y="4610100"/>
                <a:ext cx="95250" cy="207962"/>
              </a:xfrm>
              <a:custGeom>
                <a:avLst/>
                <a:gdLst>
                  <a:gd name="T0" fmla="*/ 0 w 60"/>
                  <a:gd name="T1" fmla="*/ 131 h 131"/>
                  <a:gd name="T2" fmla="*/ 0 w 60"/>
                  <a:gd name="T3" fmla="*/ 0 h 131"/>
                  <a:gd name="T4" fmla="*/ 37 w 60"/>
                  <a:gd name="T5" fmla="*/ 6 h 131"/>
                  <a:gd name="T6" fmla="*/ 60 w 60"/>
                  <a:gd name="T7" fmla="*/ 34 h 131"/>
                  <a:gd name="T8" fmla="*/ 60 w 60"/>
                  <a:gd name="T9" fmla="*/ 106 h 131"/>
                  <a:gd name="T10" fmla="*/ 0 w 60"/>
                  <a:gd name="T11" fmla="*/ 131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0" h="131">
                    <a:moveTo>
                      <a:pt x="0" y="131"/>
                    </a:moveTo>
                    <a:lnTo>
                      <a:pt x="0" y="0"/>
                    </a:lnTo>
                    <a:lnTo>
                      <a:pt x="37" y="6"/>
                    </a:lnTo>
                    <a:lnTo>
                      <a:pt x="60" y="34"/>
                    </a:lnTo>
                    <a:lnTo>
                      <a:pt x="60" y="106"/>
                    </a:lnTo>
                    <a:lnTo>
                      <a:pt x="0" y="131"/>
                    </a:lnTo>
                    <a:close/>
                  </a:path>
                </a:pathLst>
              </a:custGeom>
              <a:solidFill>
                <a:srgbClr val="F9AC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30">
                <a:extLst>
                  <a:ext uri="{FF2B5EF4-FFF2-40B4-BE49-F238E27FC236}">
                    <a16:creationId xmlns:a16="http://schemas.microsoft.com/office/drawing/2014/main" id="{6228C34E-4460-4CDB-8757-C62BE79BFB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65638" y="4606925"/>
                <a:ext cx="23812" cy="100012"/>
              </a:xfrm>
              <a:custGeom>
                <a:avLst/>
                <a:gdLst>
                  <a:gd name="T0" fmla="*/ 0 w 15"/>
                  <a:gd name="T1" fmla="*/ 61 h 63"/>
                  <a:gd name="T2" fmla="*/ 15 w 15"/>
                  <a:gd name="T3" fmla="*/ 63 h 63"/>
                  <a:gd name="T4" fmla="*/ 15 w 15"/>
                  <a:gd name="T5" fmla="*/ 2 h 63"/>
                  <a:gd name="T6" fmla="*/ 0 w 15"/>
                  <a:gd name="T7" fmla="*/ 0 h 63"/>
                  <a:gd name="T8" fmla="*/ 0 w 15"/>
                  <a:gd name="T9" fmla="*/ 61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63">
                    <a:moveTo>
                      <a:pt x="0" y="61"/>
                    </a:moveTo>
                    <a:lnTo>
                      <a:pt x="15" y="63"/>
                    </a:lnTo>
                    <a:lnTo>
                      <a:pt x="15" y="2"/>
                    </a:lnTo>
                    <a:lnTo>
                      <a:pt x="0" y="0"/>
                    </a:lnTo>
                    <a:lnTo>
                      <a:pt x="0" y="61"/>
                    </a:lnTo>
                    <a:close/>
                  </a:path>
                </a:pathLst>
              </a:custGeom>
              <a:solidFill>
                <a:srgbClr val="F155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31">
                <a:extLst>
                  <a:ext uri="{FF2B5EF4-FFF2-40B4-BE49-F238E27FC236}">
                    <a16:creationId xmlns:a16="http://schemas.microsoft.com/office/drawing/2014/main" id="{8E94276C-6441-46F6-AB36-DBAADC726D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9088" y="4702175"/>
                <a:ext cx="147637" cy="39687"/>
              </a:xfrm>
              <a:custGeom>
                <a:avLst/>
                <a:gdLst>
                  <a:gd name="T0" fmla="*/ 15 w 93"/>
                  <a:gd name="T1" fmla="*/ 25 h 25"/>
                  <a:gd name="T2" fmla="*/ 93 w 93"/>
                  <a:gd name="T3" fmla="*/ 13 h 25"/>
                  <a:gd name="T4" fmla="*/ 78 w 93"/>
                  <a:gd name="T5" fmla="*/ 0 h 25"/>
                  <a:gd name="T6" fmla="*/ 0 w 93"/>
                  <a:gd name="T7" fmla="*/ 12 h 25"/>
                  <a:gd name="T8" fmla="*/ 15 w 93"/>
                  <a:gd name="T9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3" h="25">
                    <a:moveTo>
                      <a:pt x="15" y="25"/>
                    </a:moveTo>
                    <a:lnTo>
                      <a:pt x="93" y="13"/>
                    </a:lnTo>
                    <a:lnTo>
                      <a:pt x="78" y="0"/>
                    </a:lnTo>
                    <a:lnTo>
                      <a:pt x="0" y="12"/>
                    </a:lnTo>
                    <a:lnTo>
                      <a:pt x="15" y="25"/>
                    </a:lnTo>
                    <a:close/>
                  </a:path>
                </a:pathLst>
              </a:custGeom>
              <a:solidFill>
                <a:srgbClr val="931A1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32">
                <a:extLst>
                  <a:ext uri="{FF2B5EF4-FFF2-40B4-BE49-F238E27FC236}">
                    <a16:creationId xmlns:a16="http://schemas.microsoft.com/office/drawing/2014/main" id="{F5A21BE1-FA3A-44C6-A77A-1D8844076F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52938" y="5022850"/>
                <a:ext cx="100012" cy="79375"/>
              </a:xfrm>
              <a:custGeom>
                <a:avLst/>
                <a:gdLst>
                  <a:gd name="T0" fmla="*/ 63 w 63"/>
                  <a:gd name="T1" fmla="*/ 44 h 50"/>
                  <a:gd name="T2" fmla="*/ 15 w 63"/>
                  <a:gd name="T3" fmla="*/ 0 h 50"/>
                  <a:gd name="T4" fmla="*/ 0 w 63"/>
                  <a:gd name="T5" fmla="*/ 8 h 50"/>
                  <a:gd name="T6" fmla="*/ 49 w 63"/>
                  <a:gd name="T7" fmla="*/ 50 h 50"/>
                  <a:gd name="T8" fmla="*/ 63 w 63"/>
                  <a:gd name="T9" fmla="*/ 44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3" h="50">
                    <a:moveTo>
                      <a:pt x="63" y="44"/>
                    </a:moveTo>
                    <a:lnTo>
                      <a:pt x="15" y="0"/>
                    </a:lnTo>
                    <a:lnTo>
                      <a:pt x="0" y="8"/>
                    </a:lnTo>
                    <a:lnTo>
                      <a:pt x="49" y="50"/>
                    </a:lnTo>
                    <a:lnTo>
                      <a:pt x="63" y="44"/>
                    </a:lnTo>
                    <a:close/>
                  </a:path>
                </a:pathLst>
              </a:custGeom>
              <a:solidFill>
                <a:srgbClr val="D025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Freeform 33">
                <a:extLst>
                  <a:ext uri="{FF2B5EF4-FFF2-40B4-BE49-F238E27FC236}">
                    <a16:creationId xmlns:a16="http://schemas.microsoft.com/office/drawing/2014/main" id="{892459D0-11F6-4301-8E8C-49F190E75A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51313" y="5022850"/>
                <a:ext cx="100012" cy="79375"/>
              </a:xfrm>
              <a:custGeom>
                <a:avLst/>
                <a:gdLst>
                  <a:gd name="T0" fmla="*/ 0 w 63"/>
                  <a:gd name="T1" fmla="*/ 44 h 50"/>
                  <a:gd name="T2" fmla="*/ 14 w 63"/>
                  <a:gd name="T3" fmla="*/ 50 h 50"/>
                  <a:gd name="T4" fmla="*/ 63 w 63"/>
                  <a:gd name="T5" fmla="*/ 8 h 50"/>
                  <a:gd name="T6" fmla="*/ 48 w 63"/>
                  <a:gd name="T7" fmla="*/ 0 h 50"/>
                  <a:gd name="T8" fmla="*/ 0 w 63"/>
                  <a:gd name="T9" fmla="*/ 44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3" h="50">
                    <a:moveTo>
                      <a:pt x="0" y="44"/>
                    </a:moveTo>
                    <a:lnTo>
                      <a:pt x="14" y="50"/>
                    </a:lnTo>
                    <a:lnTo>
                      <a:pt x="63" y="8"/>
                    </a:lnTo>
                    <a:lnTo>
                      <a:pt x="48" y="0"/>
                    </a:lnTo>
                    <a:lnTo>
                      <a:pt x="0" y="44"/>
                    </a:lnTo>
                    <a:close/>
                  </a:path>
                </a:pathLst>
              </a:custGeom>
              <a:solidFill>
                <a:srgbClr val="D025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64" name="Freeform 34">
              <a:extLst>
                <a:ext uri="{FF2B5EF4-FFF2-40B4-BE49-F238E27FC236}">
                  <a16:creationId xmlns:a16="http://schemas.microsoft.com/office/drawing/2014/main" id="{639AC637-1673-4DB7-8405-B911330E21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73625" y="4746625"/>
              <a:ext cx="1730375" cy="284162"/>
            </a:xfrm>
            <a:custGeom>
              <a:avLst/>
              <a:gdLst>
                <a:gd name="T0" fmla="*/ 1399 w 1571"/>
                <a:gd name="T1" fmla="*/ 170 h 257"/>
                <a:gd name="T2" fmla="*/ 1505 w 1571"/>
                <a:gd name="T3" fmla="*/ 170 h 257"/>
                <a:gd name="T4" fmla="*/ 1471 w 1571"/>
                <a:gd name="T5" fmla="*/ 4 h 257"/>
                <a:gd name="T6" fmla="*/ 1333 w 1571"/>
                <a:gd name="T7" fmla="*/ 252 h 257"/>
                <a:gd name="T8" fmla="*/ 1390 w 1571"/>
                <a:gd name="T9" fmla="*/ 197 h 257"/>
                <a:gd name="T10" fmla="*/ 1536 w 1571"/>
                <a:gd name="T11" fmla="*/ 252 h 257"/>
                <a:gd name="T12" fmla="*/ 1208 w 1571"/>
                <a:gd name="T13" fmla="*/ 252 h 257"/>
                <a:gd name="T14" fmla="*/ 1287 w 1571"/>
                <a:gd name="T15" fmla="*/ 31 h 257"/>
                <a:gd name="T16" fmla="*/ 1098 w 1571"/>
                <a:gd name="T17" fmla="*/ 4 h 257"/>
                <a:gd name="T18" fmla="*/ 1177 w 1571"/>
                <a:gd name="T19" fmla="*/ 31 h 257"/>
                <a:gd name="T20" fmla="*/ 1208 w 1571"/>
                <a:gd name="T21" fmla="*/ 252 h 257"/>
                <a:gd name="T22" fmla="*/ 867 w 1571"/>
                <a:gd name="T23" fmla="*/ 126 h 257"/>
                <a:gd name="T24" fmla="*/ 932 w 1571"/>
                <a:gd name="T25" fmla="*/ 31 h 257"/>
                <a:gd name="T26" fmla="*/ 932 w 1571"/>
                <a:gd name="T27" fmla="*/ 126 h 257"/>
                <a:gd name="T28" fmla="*/ 950 w 1571"/>
                <a:gd name="T29" fmla="*/ 151 h 257"/>
                <a:gd name="T30" fmla="*/ 936 w 1571"/>
                <a:gd name="T31" fmla="*/ 4 h 257"/>
                <a:gd name="T32" fmla="*/ 836 w 1571"/>
                <a:gd name="T33" fmla="*/ 252 h 257"/>
                <a:gd name="T34" fmla="*/ 867 w 1571"/>
                <a:gd name="T35" fmla="*/ 154 h 257"/>
                <a:gd name="T36" fmla="*/ 980 w 1571"/>
                <a:gd name="T37" fmla="*/ 252 h 257"/>
                <a:gd name="T38" fmla="*/ 681 w 1571"/>
                <a:gd name="T39" fmla="*/ 170 h 257"/>
                <a:gd name="T40" fmla="*/ 629 w 1571"/>
                <a:gd name="T41" fmla="*/ 36 h 257"/>
                <a:gd name="T42" fmla="*/ 748 w 1571"/>
                <a:gd name="T43" fmla="*/ 252 h 257"/>
                <a:gd name="T44" fmla="*/ 609 w 1571"/>
                <a:gd name="T45" fmla="*/ 4 h 257"/>
                <a:gd name="T46" fmla="*/ 545 w 1571"/>
                <a:gd name="T47" fmla="*/ 252 h 257"/>
                <a:gd name="T48" fmla="*/ 691 w 1571"/>
                <a:gd name="T49" fmla="*/ 197 h 257"/>
                <a:gd name="T50" fmla="*/ 748 w 1571"/>
                <a:gd name="T51" fmla="*/ 252 h 257"/>
                <a:gd name="T52" fmla="*/ 320 w 1571"/>
                <a:gd name="T53" fmla="*/ 126 h 257"/>
                <a:gd name="T54" fmla="*/ 385 w 1571"/>
                <a:gd name="T55" fmla="*/ 31 h 257"/>
                <a:gd name="T56" fmla="*/ 385 w 1571"/>
                <a:gd name="T57" fmla="*/ 126 h 257"/>
                <a:gd name="T58" fmla="*/ 320 w 1571"/>
                <a:gd name="T59" fmla="*/ 154 h 257"/>
                <a:gd name="T60" fmla="*/ 467 w 1571"/>
                <a:gd name="T61" fmla="*/ 79 h 257"/>
                <a:gd name="T62" fmla="*/ 289 w 1571"/>
                <a:gd name="T63" fmla="*/ 4 h 257"/>
                <a:gd name="T64" fmla="*/ 320 w 1571"/>
                <a:gd name="T65" fmla="*/ 252 h 257"/>
                <a:gd name="T66" fmla="*/ 187 w 1571"/>
                <a:gd name="T67" fmla="*/ 184 h 257"/>
                <a:gd name="T68" fmla="*/ 91 w 1571"/>
                <a:gd name="T69" fmla="*/ 28 h 257"/>
                <a:gd name="T70" fmla="*/ 181 w 1571"/>
                <a:gd name="T71" fmla="*/ 35 h 257"/>
                <a:gd name="T72" fmla="*/ 8 w 1571"/>
                <a:gd name="T73" fmla="*/ 69 h 257"/>
                <a:gd name="T74" fmla="*/ 97 w 1571"/>
                <a:gd name="T75" fmla="*/ 229 h 257"/>
                <a:gd name="T76" fmla="*/ 0 w 1571"/>
                <a:gd name="T77" fmla="*/ 217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571" h="257">
                  <a:moveTo>
                    <a:pt x="1505" y="170"/>
                  </a:moveTo>
                  <a:cubicBezTo>
                    <a:pt x="1399" y="170"/>
                    <a:pt x="1399" y="170"/>
                    <a:pt x="1399" y="170"/>
                  </a:cubicBezTo>
                  <a:cubicBezTo>
                    <a:pt x="1452" y="36"/>
                    <a:pt x="1452" y="36"/>
                    <a:pt x="1452" y="36"/>
                  </a:cubicBezTo>
                  <a:lnTo>
                    <a:pt x="1505" y="170"/>
                  </a:lnTo>
                  <a:close/>
                  <a:moveTo>
                    <a:pt x="1571" y="252"/>
                  </a:moveTo>
                  <a:cubicBezTo>
                    <a:pt x="1471" y="4"/>
                    <a:pt x="1471" y="4"/>
                    <a:pt x="1471" y="4"/>
                  </a:cubicBezTo>
                  <a:cubicBezTo>
                    <a:pt x="1433" y="4"/>
                    <a:pt x="1433" y="4"/>
                    <a:pt x="1433" y="4"/>
                  </a:cubicBezTo>
                  <a:cubicBezTo>
                    <a:pt x="1333" y="252"/>
                    <a:pt x="1333" y="252"/>
                    <a:pt x="1333" y="252"/>
                  </a:cubicBezTo>
                  <a:cubicBezTo>
                    <a:pt x="1368" y="252"/>
                    <a:pt x="1368" y="252"/>
                    <a:pt x="1368" y="252"/>
                  </a:cubicBezTo>
                  <a:cubicBezTo>
                    <a:pt x="1390" y="197"/>
                    <a:pt x="1390" y="197"/>
                    <a:pt x="1390" y="197"/>
                  </a:cubicBezTo>
                  <a:cubicBezTo>
                    <a:pt x="1514" y="197"/>
                    <a:pt x="1514" y="197"/>
                    <a:pt x="1514" y="197"/>
                  </a:cubicBezTo>
                  <a:cubicBezTo>
                    <a:pt x="1536" y="252"/>
                    <a:pt x="1536" y="252"/>
                    <a:pt x="1536" y="252"/>
                  </a:cubicBezTo>
                  <a:lnTo>
                    <a:pt x="1571" y="252"/>
                  </a:lnTo>
                  <a:close/>
                  <a:moveTo>
                    <a:pt x="1208" y="252"/>
                  </a:moveTo>
                  <a:cubicBezTo>
                    <a:pt x="1208" y="31"/>
                    <a:pt x="1208" y="31"/>
                    <a:pt x="1208" y="31"/>
                  </a:cubicBezTo>
                  <a:cubicBezTo>
                    <a:pt x="1287" y="31"/>
                    <a:pt x="1287" y="31"/>
                    <a:pt x="1287" y="31"/>
                  </a:cubicBezTo>
                  <a:cubicBezTo>
                    <a:pt x="1287" y="4"/>
                    <a:pt x="1287" y="4"/>
                    <a:pt x="1287" y="4"/>
                  </a:cubicBezTo>
                  <a:cubicBezTo>
                    <a:pt x="1098" y="4"/>
                    <a:pt x="1098" y="4"/>
                    <a:pt x="1098" y="4"/>
                  </a:cubicBezTo>
                  <a:cubicBezTo>
                    <a:pt x="1098" y="31"/>
                    <a:pt x="1098" y="31"/>
                    <a:pt x="1098" y="31"/>
                  </a:cubicBezTo>
                  <a:cubicBezTo>
                    <a:pt x="1177" y="31"/>
                    <a:pt x="1177" y="31"/>
                    <a:pt x="1177" y="31"/>
                  </a:cubicBezTo>
                  <a:cubicBezTo>
                    <a:pt x="1177" y="252"/>
                    <a:pt x="1177" y="252"/>
                    <a:pt x="1177" y="252"/>
                  </a:cubicBezTo>
                  <a:lnTo>
                    <a:pt x="1208" y="252"/>
                  </a:lnTo>
                  <a:close/>
                  <a:moveTo>
                    <a:pt x="932" y="126"/>
                  </a:moveTo>
                  <a:cubicBezTo>
                    <a:pt x="867" y="126"/>
                    <a:pt x="867" y="126"/>
                    <a:pt x="867" y="126"/>
                  </a:cubicBezTo>
                  <a:cubicBezTo>
                    <a:pt x="867" y="31"/>
                    <a:pt x="867" y="31"/>
                    <a:pt x="867" y="31"/>
                  </a:cubicBezTo>
                  <a:cubicBezTo>
                    <a:pt x="932" y="31"/>
                    <a:pt x="932" y="31"/>
                    <a:pt x="932" y="31"/>
                  </a:cubicBezTo>
                  <a:cubicBezTo>
                    <a:pt x="962" y="31"/>
                    <a:pt x="982" y="51"/>
                    <a:pt x="982" y="79"/>
                  </a:cubicBezTo>
                  <a:cubicBezTo>
                    <a:pt x="982" y="107"/>
                    <a:pt x="962" y="126"/>
                    <a:pt x="932" y="126"/>
                  </a:cubicBezTo>
                  <a:close/>
                  <a:moveTo>
                    <a:pt x="1017" y="252"/>
                  </a:moveTo>
                  <a:cubicBezTo>
                    <a:pt x="950" y="151"/>
                    <a:pt x="950" y="151"/>
                    <a:pt x="950" y="151"/>
                  </a:cubicBezTo>
                  <a:cubicBezTo>
                    <a:pt x="984" y="148"/>
                    <a:pt x="1014" y="123"/>
                    <a:pt x="1014" y="79"/>
                  </a:cubicBezTo>
                  <a:cubicBezTo>
                    <a:pt x="1014" y="33"/>
                    <a:pt x="982" y="4"/>
                    <a:pt x="936" y="4"/>
                  </a:cubicBezTo>
                  <a:cubicBezTo>
                    <a:pt x="836" y="4"/>
                    <a:pt x="836" y="4"/>
                    <a:pt x="836" y="4"/>
                  </a:cubicBezTo>
                  <a:cubicBezTo>
                    <a:pt x="836" y="252"/>
                    <a:pt x="836" y="252"/>
                    <a:pt x="836" y="252"/>
                  </a:cubicBezTo>
                  <a:cubicBezTo>
                    <a:pt x="867" y="252"/>
                    <a:pt x="867" y="252"/>
                    <a:pt x="867" y="252"/>
                  </a:cubicBezTo>
                  <a:cubicBezTo>
                    <a:pt x="867" y="154"/>
                    <a:pt x="867" y="154"/>
                    <a:pt x="867" y="154"/>
                  </a:cubicBezTo>
                  <a:cubicBezTo>
                    <a:pt x="917" y="154"/>
                    <a:pt x="917" y="154"/>
                    <a:pt x="917" y="154"/>
                  </a:cubicBezTo>
                  <a:cubicBezTo>
                    <a:pt x="980" y="252"/>
                    <a:pt x="980" y="252"/>
                    <a:pt x="980" y="252"/>
                  </a:cubicBezTo>
                  <a:lnTo>
                    <a:pt x="1017" y="252"/>
                  </a:lnTo>
                  <a:close/>
                  <a:moveTo>
                    <a:pt x="681" y="170"/>
                  </a:moveTo>
                  <a:cubicBezTo>
                    <a:pt x="576" y="170"/>
                    <a:pt x="576" y="170"/>
                    <a:pt x="576" y="170"/>
                  </a:cubicBezTo>
                  <a:cubicBezTo>
                    <a:pt x="629" y="36"/>
                    <a:pt x="629" y="36"/>
                    <a:pt x="629" y="36"/>
                  </a:cubicBezTo>
                  <a:lnTo>
                    <a:pt x="681" y="170"/>
                  </a:lnTo>
                  <a:close/>
                  <a:moveTo>
                    <a:pt x="748" y="252"/>
                  </a:moveTo>
                  <a:cubicBezTo>
                    <a:pt x="648" y="4"/>
                    <a:pt x="648" y="4"/>
                    <a:pt x="648" y="4"/>
                  </a:cubicBezTo>
                  <a:cubicBezTo>
                    <a:pt x="609" y="4"/>
                    <a:pt x="609" y="4"/>
                    <a:pt x="609" y="4"/>
                  </a:cubicBezTo>
                  <a:cubicBezTo>
                    <a:pt x="509" y="252"/>
                    <a:pt x="509" y="252"/>
                    <a:pt x="509" y="252"/>
                  </a:cubicBezTo>
                  <a:cubicBezTo>
                    <a:pt x="545" y="252"/>
                    <a:pt x="545" y="252"/>
                    <a:pt x="545" y="252"/>
                  </a:cubicBezTo>
                  <a:cubicBezTo>
                    <a:pt x="567" y="197"/>
                    <a:pt x="567" y="197"/>
                    <a:pt x="567" y="197"/>
                  </a:cubicBezTo>
                  <a:cubicBezTo>
                    <a:pt x="691" y="197"/>
                    <a:pt x="691" y="197"/>
                    <a:pt x="691" y="197"/>
                  </a:cubicBezTo>
                  <a:cubicBezTo>
                    <a:pt x="713" y="252"/>
                    <a:pt x="713" y="252"/>
                    <a:pt x="713" y="252"/>
                  </a:cubicBezTo>
                  <a:lnTo>
                    <a:pt x="748" y="252"/>
                  </a:lnTo>
                  <a:close/>
                  <a:moveTo>
                    <a:pt x="385" y="126"/>
                  </a:moveTo>
                  <a:cubicBezTo>
                    <a:pt x="320" y="126"/>
                    <a:pt x="320" y="126"/>
                    <a:pt x="320" y="126"/>
                  </a:cubicBezTo>
                  <a:cubicBezTo>
                    <a:pt x="320" y="31"/>
                    <a:pt x="320" y="31"/>
                    <a:pt x="320" y="31"/>
                  </a:cubicBezTo>
                  <a:cubicBezTo>
                    <a:pt x="385" y="31"/>
                    <a:pt x="385" y="31"/>
                    <a:pt x="385" y="31"/>
                  </a:cubicBezTo>
                  <a:cubicBezTo>
                    <a:pt x="415" y="31"/>
                    <a:pt x="435" y="51"/>
                    <a:pt x="435" y="79"/>
                  </a:cubicBezTo>
                  <a:cubicBezTo>
                    <a:pt x="435" y="107"/>
                    <a:pt x="415" y="126"/>
                    <a:pt x="385" y="126"/>
                  </a:cubicBezTo>
                  <a:close/>
                  <a:moveTo>
                    <a:pt x="320" y="252"/>
                  </a:moveTo>
                  <a:cubicBezTo>
                    <a:pt x="320" y="154"/>
                    <a:pt x="320" y="154"/>
                    <a:pt x="320" y="154"/>
                  </a:cubicBezTo>
                  <a:cubicBezTo>
                    <a:pt x="389" y="154"/>
                    <a:pt x="389" y="154"/>
                    <a:pt x="389" y="154"/>
                  </a:cubicBezTo>
                  <a:cubicBezTo>
                    <a:pt x="438" y="154"/>
                    <a:pt x="467" y="119"/>
                    <a:pt x="467" y="79"/>
                  </a:cubicBezTo>
                  <a:cubicBezTo>
                    <a:pt x="467" y="38"/>
                    <a:pt x="439" y="4"/>
                    <a:pt x="389" y="4"/>
                  </a:cubicBezTo>
                  <a:cubicBezTo>
                    <a:pt x="289" y="4"/>
                    <a:pt x="289" y="4"/>
                    <a:pt x="289" y="4"/>
                  </a:cubicBezTo>
                  <a:cubicBezTo>
                    <a:pt x="289" y="252"/>
                    <a:pt x="289" y="252"/>
                    <a:pt x="289" y="252"/>
                  </a:cubicBezTo>
                  <a:lnTo>
                    <a:pt x="320" y="252"/>
                  </a:lnTo>
                  <a:close/>
                  <a:moveTo>
                    <a:pt x="95" y="257"/>
                  </a:moveTo>
                  <a:cubicBezTo>
                    <a:pt x="162" y="257"/>
                    <a:pt x="187" y="220"/>
                    <a:pt x="187" y="184"/>
                  </a:cubicBezTo>
                  <a:cubicBezTo>
                    <a:pt x="187" y="91"/>
                    <a:pt x="40" y="123"/>
                    <a:pt x="40" y="67"/>
                  </a:cubicBezTo>
                  <a:cubicBezTo>
                    <a:pt x="40" y="44"/>
                    <a:pt x="61" y="28"/>
                    <a:pt x="91" y="28"/>
                  </a:cubicBezTo>
                  <a:cubicBezTo>
                    <a:pt x="118" y="28"/>
                    <a:pt x="144" y="37"/>
                    <a:pt x="163" y="57"/>
                  </a:cubicBezTo>
                  <a:cubicBezTo>
                    <a:pt x="181" y="35"/>
                    <a:pt x="181" y="35"/>
                    <a:pt x="181" y="35"/>
                  </a:cubicBezTo>
                  <a:cubicBezTo>
                    <a:pt x="161" y="13"/>
                    <a:pt x="131" y="0"/>
                    <a:pt x="93" y="0"/>
                  </a:cubicBezTo>
                  <a:cubicBezTo>
                    <a:pt x="44" y="0"/>
                    <a:pt x="8" y="28"/>
                    <a:pt x="8" y="69"/>
                  </a:cubicBezTo>
                  <a:cubicBezTo>
                    <a:pt x="8" y="158"/>
                    <a:pt x="155" y="122"/>
                    <a:pt x="155" y="186"/>
                  </a:cubicBezTo>
                  <a:cubicBezTo>
                    <a:pt x="155" y="205"/>
                    <a:pt x="141" y="229"/>
                    <a:pt x="97" y="229"/>
                  </a:cubicBezTo>
                  <a:cubicBezTo>
                    <a:pt x="61" y="229"/>
                    <a:pt x="35" y="212"/>
                    <a:pt x="18" y="194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20" y="240"/>
                    <a:pt x="52" y="257"/>
                    <a:pt x="95" y="257"/>
                  </a:cubicBezTo>
                  <a:close/>
                </a:path>
              </a:pathLst>
            </a:custGeom>
            <a:solidFill>
              <a:srgbClr val="0101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74" name="Text Placeholder 31">
            <a:extLst>
              <a:ext uri="{FF2B5EF4-FFF2-40B4-BE49-F238E27FC236}">
                <a16:creationId xmlns:a16="http://schemas.microsoft.com/office/drawing/2014/main" id="{B0EFC53D-B48F-4673-BFD6-62DCF0B60C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53389" y="4368516"/>
            <a:ext cx="5503179" cy="1898673"/>
          </a:xfrm>
        </p:spPr>
        <p:txBody>
          <a:bodyPr>
            <a:normAutofit/>
          </a:bodyPr>
          <a:lstStyle>
            <a:lvl1pPr marL="0" indent="0">
              <a:spcAft>
                <a:spcPts val="600"/>
              </a:spcAft>
              <a:buNone/>
              <a:defRPr sz="1800"/>
            </a:lvl1pPr>
            <a:lvl2pPr>
              <a:defRPr sz="1800"/>
            </a:lvl2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8964289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442913" y="1341437"/>
            <a:ext cx="7476886" cy="4967288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2912" y="314313"/>
            <a:ext cx="7476887" cy="66674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Picture Placeholder 6">
            <a:extLst>
              <a:ext uri="{FF2B5EF4-FFF2-40B4-BE49-F238E27FC236}">
                <a16:creationId xmlns:a16="http://schemas.microsoft.com/office/drawing/2014/main" id="{1D79F134-8512-4E7E-B15A-4229C14EBCC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380802" y="0"/>
            <a:ext cx="3408815" cy="6858000"/>
          </a:xfrm>
          <a:custGeom>
            <a:avLst/>
            <a:gdLst>
              <a:gd name="connsiteX0" fmla="*/ 0 w 3408815"/>
              <a:gd name="connsiteY0" fmla="*/ 0 h 6858000"/>
              <a:gd name="connsiteX1" fmla="*/ 3159858 w 3408815"/>
              <a:gd name="connsiteY1" fmla="*/ 0 h 6858000"/>
              <a:gd name="connsiteX2" fmla="*/ 3023800 w 3408815"/>
              <a:gd name="connsiteY2" fmla="*/ 610131 h 6858000"/>
              <a:gd name="connsiteX3" fmla="*/ 3174853 w 3408815"/>
              <a:gd name="connsiteY3" fmla="*/ 493085 h 6858000"/>
              <a:gd name="connsiteX4" fmla="*/ 3174332 w 3408815"/>
              <a:gd name="connsiteY4" fmla="*/ 495433 h 6858000"/>
              <a:gd name="connsiteX5" fmla="*/ 2884694 w 3408815"/>
              <a:gd name="connsiteY5" fmla="*/ 2908481 h 6858000"/>
              <a:gd name="connsiteX6" fmla="*/ 2630100 w 3408815"/>
              <a:gd name="connsiteY6" fmla="*/ 3340586 h 6858000"/>
              <a:gd name="connsiteX7" fmla="*/ 3408815 w 3408815"/>
              <a:gd name="connsiteY7" fmla="*/ 6858000 h 6858000"/>
              <a:gd name="connsiteX8" fmla="*/ 0 w 3408815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408815" h="6858000">
                <a:moveTo>
                  <a:pt x="0" y="0"/>
                </a:moveTo>
                <a:lnTo>
                  <a:pt x="3159858" y="0"/>
                </a:lnTo>
                <a:lnTo>
                  <a:pt x="3023800" y="610131"/>
                </a:lnTo>
                <a:lnTo>
                  <a:pt x="3174853" y="493085"/>
                </a:lnTo>
                <a:lnTo>
                  <a:pt x="3174332" y="495433"/>
                </a:lnTo>
                <a:lnTo>
                  <a:pt x="2884694" y="2908481"/>
                </a:lnTo>
                <a:lnTo>
                  <a:pt x="2630100" y="3340586"/>
                </a:lnTo>
                <a:lnTo>
                  <a:pt x="3408815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7032159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, header and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2912" y="314313"/>
            <a:ext cx="7476887" cy="66674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Inhaltsplatzhalter 6"/>
          <p:cNvSpPr>
            <a:spLocks noGrp="1"/>
          </p:cNvSpPr>
          <p:nvPr>
            <p:ph sz="quarter" idx="15" hasCustomPrompt="1"/>
          </p:nvPr>
        </p:nvSpPr>
        <p:spPr>
          <a:xfrm>
            <a:off x="442913" y="1794141"/>
            <a:ext cx="7476886" cy="4514583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Textplatzhalter 8"/>
          <p:cNvSpPr>
            <a:spLocks noGrp="1"/>
          </p:cNvSpPr>
          <p:nvPr>
            <p:ph type="body" sz="quarter" idx="17"/>
          </p:nvPr>
        </p:nvSpPr>
        <p:spPr>
          <a:xfrm>
            <a:off x="442914" y="1342800"/>
            <a:ext cx="7476886" cy="432000"/>
          </a:xfrm>
        </p:spPr>
        <p:txBody>
          <a:bodyPr anchor="t">
            <a:normAutofit/>
          </a:bodyPr>
          <a:lstStyle>
            <a:lvl1pPr marL="0" indent="0">
              <a:buNone/>
              <a:defRPr sz="20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F4112E69-8C20-4A11-8A3A-82B1D1C13FD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380802" y="0"/>
            <a:ext cx="3408815" cy="6858000"/>
          </a:xfrm>
          <a:custGeom>
            <a:avLst/>
            <a:gdLst>
              <a:gd name="connsiteX0" fmla="*/ 0 w 3408815"/>
              <a:gd name="connsiteY0" fmla="*/ 0 h 6858000"/>
              <a:gd name="connsiteX1" fmla="*/ 3159858 w 3408815"/>
              <a:gd name="connsiteY1" fmla="*/ 0 h 6858000"/>
              <a:gd name="connsiteX2" fmla="*/ 3023800 w 3408815"/>
              <a:gd name="connsiteY2" fmla="*/ 610131 h 6858000"/>
              <a:gd name="connsiteX3" fmla="*/ 3174853 w 3408815"/>
              <a:gd name="connsiteY3" fmla="*/ 493085 h 6858000"/>
              <a:gd name="connsiteX4" fmla="*/ 3174332 w 3408815"/>
              <a:gd name="connsiteY4" fmla="*/ 495433 h 6858000"/>
              <a:gd name="connsiteX5" fmla="*/ 2884694 w 3408815"/>
              <a:gd name="connsiteY5" fmla="*/ 2908481 h 6858000"/>
              <a:gd name="connsiteX6" fmla="*/ 2630100 w 3408815"/>
              <a:gd name="connsiteY6" fmla="*/ 3340586 h 6858000"/>
              <a:gd name="connsiteX7" fmla="*/ 3408815 w 3408815"/>
              <a:gd name="connsiteY7" fmla="*/ 6858000 h 6858000"/>
              <a:gd name="connsiteX8" fmla="*/ 0 w 3408815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408815" h="6858000">
                <a:moveTo>
                  <a:pt x="0" y="0"/>
                </a:moveTo>
                <a:lnTo>
                  <a:pt x="3159858" y="0"/>
                </a:lnTo>
                <a:lnTo>
                  <a:pt x="3023800" y="610131"/>
                </a:lnTo>
                <a:lnTo>
                  <a:pt x="3174853" y="493085"/>
                </a:lnTo>
                <a:lnTo>
                  <a:pt x="3174332" y="495433"/>
                </a:lnTo>
                <a:lnTo>
                  <a:pt x="2884694" y="2908481"/>
                </a:lnTo>
                <a:lnTo>
                  <a:pt x="2630100" y="3340586"/>
                </a:lnTo>
                <a:lnTo>
                  <a:pt x="3408815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48943986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B108E184-8719-48C3-AB1F-12CD8B5E9DEA}"/>
              </a:ext>
            </a:extLst>
          </p:cNvPr>
          <p:cNvSpPr/>
          <p:nvPr/>
        </p:nvSpPr>
        <p:spPr>
          <a:xfrm>
            <a:off x="0" y="0"/>
            <a:ext cx="698500" cy="16129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4475181" y="1341437"/>
            <a:ext cx="6335732" cy="4967288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4FBD792-BBA8-4A8D-9B60-789C9757AB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75181" y="317661"/>
            <a:ext cx="6335732" cy="784061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51DE645-24A4-4410-9629-695C20BF7C2F}"/>
              </a:ext>
            </a:extLst>
          </p:cNvPr>
          <p:cNvSpPr/>
          <p:nvPr/>
        </p:nvSpPr>
        <p:spPr>
          <a:xfrm>
            <a:off x="0" y="0"/>
            <a:ext cx="698500" cy="16129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841BF36-36D5-4AC3-918D-FCDE94AD102E}"/>
              </a:ext>
            </a:extLst>
          </p:cNvPr>
          <p:cNvSpPr/>
          <p:nvPr/>
        </p:nvSpPr>
        <p:spPr>
          <a:xfrm>
            <a:off x="4277714" y="364332"/>
            <a:ext cx="76200" cy="64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D29B44A-57E4-436D-B227-39B1C97C7780}"/>
              </a:ext>
            </a:extLst>
          </p:cNvPr>
          <p:cNvSpPr/>
          <p:nvPr userDrawn="1"/>
        </p:nvSpPr>
        <p:spPr>
          <a:xfrm>
            <a:off x="0" y="0"/>
            <a:ext cx="698500" cy="16129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5B8CF453-B057-4706-8662-0475963D6E1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3175" y="1587"/>
            <a:ext cx="3575609" cy="6858000"/>
          </a:xfrm>
          <a:custGeom>
            <a:avLst/>
            <a:gdLst>
              <a:gd name="connsiteX0" fmla="*/ 0 w 3575609"/>
              <a:gd name="connsiteY0" fmla="*/ 0 h 6858000"/>
              <a:gd name="connsiteX1" fmla="*/ 3070396 w 3575609"/>
              <a:gd name="connsiteY1" fmla="*/ 545053 h 6858000"/>
              <a:gd name="connsiteX2" fmla="*/ 3575609 w 3575609"/>
              <a:gd name="connsiteY2" fmla="*/ 3248472 h 6858000"/>
              <a:gd name="connsiteX3" fmla="*/ 3228494 w 3575609"/>
              <a:gd name="connsiteY3" fmla="*/ 5579179 h 6858000"/>
              <a:gd name="connsiteX4" fmla="*/ 1728322 w 3575609"/>
              <a:gd name="connsiteY4" fmla="*/ 6858000 h 6858000"/>
              <a:gd name="connsiteX5" fmla="*/ 0 w 3575609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5609" h="6858000">
                <a:moveTo>
                  <a:pt x="0" y="0"/>
                </a:moveTo>
                <a:lnTo>
                  <a:pt x="3070396" y="545053"/>
                </a:lnTo>
                <a:lnTo>
                  <a:pt x="3575609" y="3248472"/>
                </a:lnTo>
                <a:lnTo>
                  <a:pt x="3228494" y="5579179"/>
                </a:lnTo>
                <a:lnTo>
                  <a:pt x="172832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9CEFB45E-E530-4FD3-A96A-09C31B2B314E}"/>
              </a:ext>
            </a:extLst>
          </p:cNvPr>
          <p:cNvGrpSpPr/>
          <p:nvPr userDrawn="1"/>
        </p:nvGrpSpPr>
        <p:grpSpPr>
          <a:xfrm>
            <a:off x="-3176" y="1588"/>
            <a:ext cx="3914776" cy="6858000"/>
            <a:chOff x="-3176" y="1588"/>
            <a:chExt cx="3914776" cy="6858000"/>
          </a:xfrm>
        </p:grpSpPr>
        <p:sp>
          <p:nvSpPr>
            <p:cNvPr id="26" name="Freeform 14">
              <a:extLst>
                <a:ext uri="{FF2B5EF4-FFF2-40B4-BE49-F238E27FC236}">
                  <a16:creationId xmlns:a16="http://schemas.microsoft.com/office/drawing/2014/main" id="{59EBA989-95BD-44E5-9FFB-0F1C880799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176" y="1588"/>
              <a:ext cx="3088343" cy="548239"/>
            </a:xfrm>
            <a:custGeom>
              <a:avLst/>
              <a:gdLst>
                <a:gd name="T0" fmla="*/ 1719 w 1719"/>
                <a:gd name="T1" fmla="*/ 328 h 328"/>
                <a:gd name="T2" fmla="*/ 1638 w 1719"/>
                <a:gd name="T3" fmla="*/ 0 h 328"/>
                <a:gd name="T4" fmla="*/ 0 w 1719"/>
                <a:gd name="T5" fmla="*/ 0 h 328"/>
                <a:gd name="T6" fmla="*/ 1719 w 1719"/>
                <a:gd name="T7" fmla="*/ 328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19" h="328">
                  <a:moveTo>
                    <a:pt x="1719" y="328"/>
                  </a:moveTo>
                  <a:lnTo>
                    <a:pt x="1638" y="0"/>
                  </a:lnTo>
                  <a:lnTo>
                    <a:pt x="0" y="0"/>
                  </a:lnTo>
                  <a:lnTo>
                    <a:pt x="1719" y="328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15">
              <a:extLst>
                <a:ext uri="{FF2B5EF4-FFF2-40B4-BE49-F238E27FC236}">
                  <a16:creationId xmlns:a16="http://schemas.microsoft.com/office/drawing/2014/main" id="{48D11407-27F7-46B1-A429-3F0550FA4D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39643" y="1588"/>
              <a:ext cx="930635" cy="3256004"/>
            </a:xfrm>
            <a:custGeom>
              <a:avLst/>
              <a:gdLst>
                <a:gd name="T0" fmla="*/ 518 w 518"/>
                <a:gd name="T1" fmla="*/ 747 h 1948"/>
                <a:gd name="T2" fmla="*/ 0 w 518"/>
                <a:gd name="T3" fmla="*/ 0 h 1948"/>
                <a:gd name="T4" fmla="*/ 51 w 518"/>
                <a:gd name="T5" fmla="*/ 211 h 1948"/>
                <a:gd name="T6" fmla="*/ 353 w 518"/>
                <a:gd name="T7" fmla="*/ 1948 h 1948"/>
                <a:gd name="T8" fmla="*/ 518 w 518"/>
                <a:gd name="T9" fmla="*/ 747 h 19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8" h="1948">
                  <a:moveTo>
                    <a:pt x="518" y="747"/>
                  </a:moveTo>
                  <a:lnTo>
                    <a:pt x="0" y="0"/>
                  </a:lnTo>
                  <a:lnTo>
                    <a:pt x="51" y="211"/>
                  </a:lnTo>
                  <a:lnTo>
                    <a:pt x="353" y="1948"/>
                  </a:lnTo>
                  <a:lnTo>
                    <a:pt x="518" y="747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16">
              <a:extLst>
                <a:ext uri="{FF2B5EF4-FFF2-40B4-BE49-F238E27FC236}">
                  <a16:creationId xmlns:a16="http://schemas.microsoft.com/office/drawing/2014/main" id="{18501D1D-CFFF-446C-9ABF-A45B6BCC7B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27098" y="3257592"/>
              <a:ext cx="684502" cy="2321657"/>
            </a:xfrm>
            <a:custGeom>
              <a:avLst/>
              <a:gdLst>
                <a:gd name="T0" fmla="*/ 381 w 381"/>
                <a:gd name="T1" fmla="*/ 1041 h 1389"/>
                <a:gd name="T2" fmla="*/ 0 w 381"/>
                <a:gd name="T3" fmla="*/ 1389 h 1389"/>
                <a:gd name="T4" fmla="*/ 193 w 381"/>
                <a:gd name="T5" fmla="*/ 0 h 1389"/>
                <a:gd name="T6" fmla="*/ 381 w 381"/>
                <a:gd name="T7" fmla="*/ 1041 h 13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81" h="1389">
                  <a:moveTo>
                    <a:pt x="381" y="1041"/>
                  </a:moveTo>
                  <a:lnTo>
                    <a:pt x="0" y="1389"/>
                  </a:lnTo>
                  <a:lnTo>
                    <a:pt x="193" y="0"/>
                  </a:lnTo>
                  <a:lnTo>
                    <a:pt x="381" y="1041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17">
              <a:extLst>
                <a:ext uri="{FF2B5EF4-FFF2-40B4-BE49-F238E27FC236}">
                  <a16:creationId xmlns:a16="http://schemas.microsoft.com/office/drawing/2014/main" id="{C9DA93C9-A065-4597-9BED-6A4B7C3BEE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5146" y="5579250"/>
              <a:ext cx="1501951" cy="1280338"/>
            </a:xfrm>
            <a:custGeom>
              <a:avLst/>
              <a:gdLst>
                <a:gd name="T0" fmla="*/ 0 w 836"/>
                <a:gd name="T1" fmla="*/ 766 h 766"/>
                <a:gd name="T2" fmla="*/ 729 w 836"/>
                <a:gd name="T3" fmla="*/ 766 h 766"/>
                <a:gd name="T4" fmla="*/ 836 w 836"/>
                <a:gd name="T5" fmla="*/ 0 h 766"/>
                <a:gd name="T6" fmla="*/ 0 w 836"/>
                <a:gd name="T7" fmla="*/ 766 h 7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36" h="766">
                  <a:moveTo>
                    <a:pt x="0" y="766"/>
                  </a:moveTo>
                  <a:lnTo>
                    <a:pt x="729" y="766"/>
                  </a:lnTo>
                  <a:lnTo>
                    <a:pt x="836" y="0"/>
                  </a:lnTo>
                  <a:lnTo>
                    <a:pt x="0" y="766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21741061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header, content and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4FBD792-BBA8-4A8D-9B60-789C9757AB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75181" y="317661"/>
            <a:ext cx="6335732" cy="784061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B5918646-B0B6-4E26-8700-1B438F12B16B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475181" y="1794141"/>
            <a:ext cx="6335732" cy="4514583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Textplatzhalter 8">
            <a:extLst>
              <a:ext uri="{FF2B5EF4-FFF2-40B4-BE49-F238E27FC236}">
                <a16:creationId xmlns:a16="http://schemas.microsoft.com/office/drawing/2014/main" id="{168B2A05-49A4-4930-9FF4-E4556FF9505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475182" y="1342800"/>
            <a:ext cx="6335732" cy="432000"/>
          </a:xfrm>
        </p:spPr>
        <p:txBody>
          <a:bodyPr anchor="t">
            <a:normAutofit/>
          </a:bodyPr>
          <a:lstStyle>
            <a:lvl1pPr marL="0" indent="0">
              <a:buNone/>
              <a:defRPr sz="20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D8D63A6-E9A9-4D6D-A182-EF480A428F7A}"/>
              </a:ext>
            </a:extLst>
          </p:cNvPr>
          <p:cNvSpPr/>
          <p:nvPr/>
        </p:nvSpPr>
        <p:spPr>
          <a:xfrm>
            <a:off x="0" y="0"/>
            <a:ext cx="698500" cy="16129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5933989-24F5-4956-A56D-F20718DBFA91}"/>
              </a:ext>
            </a:extLst>
          </p:cNvPr>
          <p:cNvSpPr/>
          <p:nvPr/>
        </p:nvSpPr>
        <p:spPr>
          <a:xfrm>
            <a:off x="0" y="0"/>
            <a:ext cx="698500" cy="16129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474AE87-A4C7-4A22-8F12-8C18AF100541}"/>
              </a:ext>
            </a:extLst>
          </p:cNvPr>
          <p:cNvSpPr/>
          <p:nvPr/>
        </p:nvSpPr>
        <p:spPr>
          <a:xfrm>
            <a:off x="4277714" y="364333"/>
            <a:ext cx="76200" cy="62684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B6783C9-F0BE-4979-BDBC-8C08BCF1253F}"/>
              </a:ext>
            </a:extLst>
          </p:cNvPr>
          <p:cNvSpPr/>
          <p:nvPr userDrawn="1"/>
        </p:nvSpPr>
        <p:spPr>
          <a:xfrm>
            <a:off x="0" y="0"/>
            <a:ext cx="698500" cy="16129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E017325-C4EE-4F7B-8567-EB291390AD2E}"/>
              </a:ext>
            </a:extLst>
          </p:cNvPr>
          <p:cNvSpPr/>
          <p:nvPr userDrawn="1"/>
        </p:nvSpPr>
        <p:spPr>
          <a:xfrm>
            <a:off x="4277714" y="364332"/>
            <a:ext cx="76200" cy="64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4EE0BCB7-5702-42A1-808E-0184FAAE7FE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3175" y="1587"/>
            <a:ext cx="3575609" cy="6858000"/>
          </a:xfrm>
          <a:custGeom>
            <a:avLst/>
            <a:gdLst>
              <a:gd name="connsiteX0" fmla="*/ 0 w 3575609"/>
              <a:gd name="connsiteY0" fmla="*/ 0 h 6858000"/>
              <a:gd name="connsiteX1" fmla="*/ 3070396 w 3575609"/>
              <a:gd name="connsiteY1" fmla="*/ 545053 h 6858000"/>
              <a:gd name="connsiteX2" fmla="*/ 3575609 w 3575609"/>
              <a:gd name="connsiteY2" fmla="*/ 3248472 h 6858000"/>
              <a:gd name="connsiteX3" fmla="*/ 3228494 w 3575609"/>
              <a:gd name="connsiteY3" fmla="*/ 5579179 h 6858000"/>
              <a:gd name="connsiteX4" fmla="*/ 1728322 w 3575609"/>
              <a:gd name="connsiteY4" fmla="*/ 6858000 h 6858000"/>
              <a:gd name="connsiteX5" fmla="*/ 0 w 3575609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5609" h="6858000">
                <a:moveTo>
                  <a:pt x="0" y="0"/>
                </a:moveTo>
                <a:lnTo>
                  <a:pt x="3070396" y="545053"/>
                </a:lnTo>
                <a:lnTo>
                  <a:pt x="3575609" y="3248472"/>
                </a:lnTo>
                <a:lnTo>
                  <a:pt x="3228494" y="5579179"/>
                </a:lnTo>
                <a:lnTo>
                  <a:pt x="172832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E778C7E9-2EE8-4B11-979F-EF770D80B3D3}"/>
              </a:ext>
            </a:extLst>
          </p:cNvPr>
          <p:cNvGrpSpPr/>
          <p:nvPr userDrawn="1"/>
        </p:nvGrpSpPr>
        <p:grpSpPr>
          <a:xfrm>
            <a:off x="-3176" y="1588"/>
            <a:ext cx="3914776" cy="6858000"/>
            <a:chOff x="-3176" y="1588"/>
            <a:chExt cx="3914776" cy="6858000"/>
          </a:xfrm>
        </p:grpSpPr>
        <p:sp>
          <p:nvSpPr>
            <p:cNvPr id="16" name="Freeform 14">
              <a:extLst>
                <a:ext uri="{FF2B5EF4-FFF2-40B4-BE49-F238E27FC236}">
                  <a16:creationId xmlns:a16="http://schemas.microsoft.com/office/drawing/2014/main" id="{C07F8AA8-F568-450D-8961-BB3CDFDDA3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176" y="1588"/>
              <a:ext cx="3088343" cy="548239"/>
            </a:xfrm>
            <a:custGeom>
              <a:avLst/>
              <a:gdLst>
                <a:gd name="T0" fmla="*/ 1719 w 1719"/>
                <a:gd name="T1" fmla="*/ 328 h 328"/>
                <a:gd name="T2" fmla="*/ 1638 w 1719"/>
                <a:gd name="T3" fmla="*/ 0 h 328"/>
                <a:gd name="T4" fmla="*/ 0 w 1719"/>
                <a:gd name="T5" fmla="*/ 0 h 328"/>
                <a:gd name="T6" fmla="*/ 1719 w 1719"/>
                <a:gd name="T7" fmla="*/ 328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19" h="328">
                  <a:moveTo>
                    <a:pt x="1719" y="328"/>
                  </a:moveTo>
                  <a:lnTo>
                    <a:pt x="1638" y="0"/>
                  </a:lnTo>
                  <a:lnTo>
                    <a:pt x="0" y="0"/>
                  </a:lnTo>
                  <a:lnTo>
                    <a:pt x="1719" y="328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5">
              <a:extLst>
                <a:ext uri="{FF2B5EF4-FFF2-40B4-BE49-F238E27FC236}">
                  <a16:creationId xmlns:a16="http://schemas.microsoft.com/office/drawing/2014/main" id="{336D31FB-1992-4715-86FF-C2B1CA2F807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39643" y="1588"/>
              <a:ext cx="930635" cy="3256004"/>
            </a:xfrm>
            <a:custGeom>
              <a:avLst/>
              <a:gdLst>
                <a:gd name="T0" fmla="*/ 518 w 518"/>
                <a:gd name="T1" fmla="*/ 747 h 1948"/>
                <a:gd name="T2" fmla="*/ 0 w 518"/>
                <a:gd name="T3" fmla="*/ 0 h 1948"/>
                <a:gd name="T4" fmla="*/ 51 w 518"/>
                <a:gd name="T5" fmla="*/ 211 h 1948"/>
                <a:gd name="T6" fmla="*/ 353 w 518"/>
                <a:gd name="T7" fmla="*/ 1948 h 1948"/>
                <a:gd name="T8" fmla="*/ 518 w 518"/>
                <a:gd name="T9" fmla="*/ 747 h 19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8" h="1948">
                  <a:moveTo>
                    <a:pt x="518" y="747"/>
                  </a:moveTo>
                  <a:lnTo>
                    <a:pt x="0" y="0"/>
                  </a:lnTo>
                  <a:lnTo>
                    <a:pt x="51" y="211"/>
                  </a:lnTo>
                  <a:lnTo>
                    <a:pt x="353" y="1948"/>
                  </a:lnTo>
                  <a:lnTo>
                    <a:pt x="518" y="747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6">
              <a:extLst>
                <a:ext uri="{FF2B5EF4-FFF2-40B4-BE49-F238E27FC236}">
                  <a16:creationId xmlns:a16="http://schemas.microsoft.com/office/drawing/2014/main" id="{3455B48B-44B6-4B41-8756-ACB71321574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27098" y="3257592"/>
              <a:ext cx="684502" cy="2321657"/>
            </a:xfrm>
            <a:custGeom>
              <a:avLst/>
              <a:gdLst>
                <a:gd name="T0" fmla="*/ 381 w 381"/>
                <a:gd name="T1" fmla="*/ 1041 h 1389"/>
                <a:gd name="T2" fmla="*/ 0 w 381"/>
                <a:gd name="T3" fmla="*/ 1389 h 1389"/>
                <a:gd name="T4" fmla="*/ 193 w 381"/>
                <a:gd name="T5" fmla="*/ 0 h 1389"/>
                <a:gd name="T6" fmla="*/ 381 w 381"/>
                <a:gd name="T7" fmla="*/ 1041 h 13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81" h="1389">
                  <a:moveTo>
                    <a:pt x="381" y="1041"/>
                  </a:moveTo>
                  <a:lnTo>
                    <a:pt x="0" y="1389"/>
                  </a:lnTo>
                  <a:lnTo>
                    <a:pt x="193" y="0"/>
                  </a:lnTo>
                  <a:lnTo>
                    <a:pt x="381" y="1041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7">
              <a:extLst>
                <a:ext uri="{FF2B5EF4-FFF2-40B4-BE49-F238E27FC236}">
                  <a16:creationId xmlns:a16="http://schemas.microsoft.com/office/drawing/2014/main" id="{D1B7D2AE-5903-47E8-AF57-B16835FD15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5146" y="5579250"/>
              <a:ext cx="1501951" cy="1280338"/>
            </a:xfrm>
            <a:custGeom>
              <a:avLst/>
              <a:gdLst>
                <a:gd name="T0" fmla="*/ 0 w 836"/>
                <a:gd name="T1" fmla="*/ 766 h 766"/>
                <a:gd name="T2" fmla="*/ 729 w 836"/>
                <a:gd name="T3" fmla="*/ 766 h 766"/>
                <a:gd name="T4" fmla="*/ 836 w 836"/>
                <a:gd name="T5" fmla="*/ 0 h 766"/>
                <a:gd name="T6" fmla="*/ 0 w 836"/>
                <a:gd name="T7" fmla="*/ 766 h 7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36" h="766">
                  <a:moveTo>
                    <a:pt x="0" y="766"/>
                  </a:moveTo>
                  <a:lnTo>
                    <a:pt x="729" y="766"/>
                  </a:lnTo>
                  <a:lnTo>
                    <a:pt x="836" y="0"/>
                  </a:lnTo>
                  <a:lnTo>
                    <a:pt x="0" y="766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22632260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Our Agenda">
    <p:bg>
      <p:bgPr>
        <a:gradFill>
          <a:gsLst>
            <a:gs pos="5000">
              <a:schemeClr val="accent1"/>
            </a:gs>
            <a:gs pos="100000">
              <a:schemeClr val="accent2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Freeform 44">
            <a:extLst>
              <a:ext uri="{FF2B5EF4-FFF2-40B4-BE49-F238E27FC236}">
                <a16:creationId xmlns:a16="http://schemas.microsoft.com/office/drawing/2014/main" id="{69196B9C-0D13-41C0-B8B0-CDC040CD2C61}"/>
              </a:ext>
            </a:extLst>
          </p:cNvPr>
          <p:cNvSpPr>
            <a:spLocks noEditPoints="1"/>
          </p:cNvSpPr>
          <p:nvPr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256 w 290"/>
              <a:gd name="T11" fmla="*/ 323 h 375"/>
              <a:gd name="T12" fmla="*/ 143 w 290"/>
              <a:gd name="T13" fmla="*/ 313 h 375"/>
              <a:gd name="T14" fmla="*/ 222 w 290"/>
              <a:gd name="T15" fmla="*/ 273 h 375"/>
              <a:gd name="T16" fmla="*/ 18 w 290"/>
              <a:gd name="T17" fmla="*/ 95 h 375"/>
              <a:gd name="T18" fmla="*/ 3 w 290"/>
              <a:gd name="T19" fmla="*/ 83 h 375"/>
              <a:gd name="T20" fmla="*/ 3 w 290"/>
              <a:gd name="T21" fmla="*/ 83 h 375"/>
              <a:gd name="T22" fmla="*/ 0 w 290"/>
              <a:gd name="T23" fmla="*/ 80 h 375"/>
              <a:gd name="T24" fmla="*/ 4 w 290"/>
              <a:gd name="T25" fmla="*/ 21 h 375"/>
              <a:gd name="T26" fmla="*/ 139 w 290"/>
              <a:gd name="T27" fmla="*/ 0 h 375"/>
              <a:gd name="T28" fmla="*/ 147 w 290"/>
              <a:gd name="T29" fmla="*/ 0 h 375"/>
              <a:gd name="T30" fmla="*/ 215 w 290"/>
              <a:gd name="T31" fmla="*/ 11 h 375"/>
              <a:gd name="T32" fmla="*/ 230 w 290"/>
              <a:gd name="T33" fmla="*/ 13 h 375"/>
              <a:gd name="T34" fmla="*/ 267 w 290"/>
              <a:gd name="T35" fmla="*/ 19 h 375"/>
              <a:gd name="T36" fmla="*/ 290 w 290"/>
              <a:gd name="T37" fmla="*/ 46 h 375"/>
              <a:gd name="T38" fmla="*/ 290 w 290"/>
              <a:gd name="T39" fmla="*/ 118 h 375"/>
              <a:gd name="T40" fmla="*/ 230 w 290"/>
              <a:gd name="T41" fmla="*/ 144 h 375"/>
              <a:gd name="T42" fmla="*/ 230 w 290"/>
              <a:gd name="T43" fmla="*/ 74 h 375"/>
              <a:gd name="T44" fmla="*/ 143 w 290"/>
              <a:gd name="T45" fmla="*/ 61 h 375"/>
              <a:gd name="T46" fmla="*/ 81 w 290"/>
              <a:gd name="T47" fmla="*/ 71 h 375"/>
              <a:gd name="T48" fmla="*/ 96 w 290"/>
              <a:gd name="T49" fmla="*/ 83 h 375"/>
              <a:gd name="T50" fmla="*/ 96 w 290"/>
              <a:gd name="T51" fmla="*/ 83 h 375"/>
              <a:gd name="T52" fmla="*/ 283 w 290"/>
              <a:gd name="T53" fmla="*/ 247 h 375"/>
              <a:gd name="T54" fmla="*/ 283 w 290"/>
              <a:gd name="T55" fmla="*/ 247 h 375"/>
              <a:gd name="T56" fmla="*/ 288 w 290"/>
              <a:gd name="T57" fmla="*/ 250 h 375"/>
              <a:gd name="T58" fmla="*/ 283 w 290"/>
              <a:gd name="T59" fmla="*/ 309 h 375"/>
              <a:gd name="T60" fmla="*/ 270 w 290"/>
              <a:gd name="T61" fmla="*/ 316 h 375"/>
              <a:gd name="T62" fmla="*/ 258 w 290"/>
              <a:gd name="T63" fmla="*/ 322 h 375"/>
              <a:gd name="T64" fmla="*/ 156 w 290"/>
              <a:gd name="T65" fmla="*/ 375 h 375"/>
              <a:gd name="T66" fmla="*/ 131 w 290"/>
              <a:gd name="T67" fmla="*/ 375 h 375"/>
              <a:gd name="T68" fmla="*/ 31 w 290"/>
              <a:gd name="T69" fmla="*/ 323 h 375"/>
              <a:gd name="T70" fmla="*/ 31 w 290"/>
              <a:gd name="T71" fmla="*/ 323 h 375"/>
              <a:gd name="T72" fmla="*/ 18 w 290"/>
              <a:gd name="T73" fmla="*/ 316 h 375"/>
              <a:gd name="T74" fmla="*/ 16 w 290"/>
              <a:gd name="T75" fmla="*/ 316 h 375"/>
              <a:gd name="T76" fmla="*/ 4 w 290"/>
              <a:gd name="T77" fmla="*/ 309 h 375"/>
              <a:gd name="T78" fmla="*/ 0 w 290"/>
              <a:gd name="T79" fmla="*/ 250 h 375"/>
              <a:gd name="T80" fmla="*/ 86 w 290"/>
              <a:gd name="T81" fmla="*/ 175 h 375"/>
              <a:gd name="T82" fmla="*/ 132 w 290"/>
              <a:gd name="T83" fmla="*/ 215 h 375"/>
              <a:gd name="T84" fmla="*/ 65 w 290"/>
              <a:gd name="T85" fmla="*/ 273 h 375"/>
              <a:gd name="T86" fmla="*/ 143 w 290"/>
              <a:gd name="T87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close/>
                <a:moveTo>
                  <a:pt x="256" y="323"/>
                </a:moveTo>
                <a:lnTo>
                  <a:pt x="258" y="322"/>
                </a:lnTo>
                <a:lnTo>
                  <a:pt x="256" y="323"/>
                </a:lnTo>
                <a:close/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  <a:close/>
              </a:path>
            </a:pathLst>
          </a:custGeom>
          <a:solidFill>
            <a:schemeClr val="accent1">
              <a:lumMod val="75000"/>
              <a:alpha val="14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9" name="Freeform 45">
            <a:extLst>
              <a:ext uri="{FF2B5EF4-FFF2-40B4-BE49-F238E27FC236}">
                <a16:creationId xmlns:a16="http://schemas.microsoft.com/office/drawing/2014/main" id="{FA26C795-A228-45BC-9FD6-9F4B38F5758E}"/>
              </a:ext>
            </a:extLst>
          </p:cNvPr>
          <p:cNvSpPr>
            <a:spLocks noEditPoints="1"/>
          </p:cNvSpPr>
          <p:nvPr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143 w 290"/>
              <a:gd name="T11" fmla="*/ 313 h 375"/>
              <a:gd name="T12" fmla="*/ 222 w 290"/>
              <a:gd name="T13" fmla="*/ 273 h 375"/>
              <a:gd name="T14" fmla="*/ 18 w 290"/>
              <a:gd name="T15" fmla="*/ 95 h 375"/>
              <a:gd name="T16" fmla="*/ 3 w 290"/>
              <a:gd name="T17" fmla="*/ 83 h 375"/>
              <a:gd name="T18" fmla="*/ 3 w 290"/>
              <a:gd name="T19" fmla="*/ 83 h 375"/>
              <a:gd name="T20" fmla="*/ 0 w 290"/>
              <a:gd name="T21" fmla="*/ 80 h 375"/>
              <a:gd name="T22" fmla="*/ 4 w 290"/>
              <a:gd name="T23" fmla="*/ 21 h 375"/>
              <a:gd name="T24" fmla="*/ 139 w 290"/>
              <a:gd name="T25" fmla="*/ 0 h 375"/>
              <a:gd name="T26" fmla="*/ 147 w 290"/>
              <a:gd name="T27" fmla="*/ 0 h 375"/>
              <a:gd name="T28" fmla="*/ 215 w 290"/>
              <a:gd name="T29" fmla="*/ 11 h 375"/>
              <a:gd name="T30" fmla="*/ 230 w 290"/>
              <a:gd name="T31" fmla="*/ 13 h 375"/>
              <a:gd name="T32" fmla="*/ 267 w 290"/>
              <a:gd name="T33" fmla="*/ 19 h 375"/>
              <a:gd name="T34" fmla="*/ 290 w 290"/>
              <a:gd name="T35" fmla="*/ 46 h 375"/>
              <a:gd name="T36" fmla="*/ 290 w 290"/>
              <a:gd name="T37" fmla="*/ 118 h 375"/>
              <a:gd name="T38" fmla="*/ 230 w 290"/>
              <a:gd name="T39" fmla="*/ 144 h 375"/>
              <a:gd name="T40" fmla="*/ 230 w 290"/>
              <a:gd name="T41" fmla="*/ 74 h 375"/>
              <a:gd name="T42" fmla="*/ 143 w 290"/>
              <a:gd name="T43" fmla="*/ 61 h 375"/>
              <a:gd name="T44" fmla="*/ 81 w 290"/>
              <a:gd name="T45" fmla="*/ 71 h 375"/>
              <a:gd name="T46" fmla="*/ 96 w 290"/>
              <a:gd name="T47" fmla="*/ 83 h 375"/>
              <a:gd name="T48" fmla="*/ 96 w 290"/>
              <a:gd name="T49" fmla="*/ 83 h 375"/>
              <a:gd name="T50" fmla="*/ 283 w 290"/>
              <a:gd name="T51" fmla="*/ 247 h 375"/>
              <a:gd name="T52" fmla="*/ 283 w 290"/>
              <a:gd name="T53" fmla="*/ 247 h 375"/>
              <a:gd name="T54" fmla="*/ 288 w 290"/>
              <a:gd name="T55" fmla="*/ 250 h 375"/>
              <a:gd name="T56" fmla="*/ 283 w 290"/>
              <a:gd name="T57" fmla="*/ 309 h 375"/>
              <a:gd name="T58" fmla="*/ 270 w 290"/>
              <a:gd name="T59" fmla="*/ 316 h 375"/>
              <a:gd name="T60" fmla="*/ 258 w 290"/>
              <a:gd name="T61" fmla="*/ 322 h 375"/>
              <a:gd name="T62" fmla="*/ 156 w 290"/>
              <a:gd name="T63" fmla="*/ 375 h 375"/>
              <a:gd name="T64" fmla="*/ 131 w 290"/>
              <a:gd name="T65" fmla="*/ 375 h 375"/>
              <a:gd name="T66" fmla="*/ 31 w 290"/>
              <a:gd name="T67" fmla="*/ 323 h 375"/>
              <a:gd name="T68" fmla="*/ 31 w 290"/>
              <a:gd name="T69" fmla="*/ 323 h 375"/>
              <a:gd name="T70" fmla="*/ 18 w 290"/>
              <a:gd name="T71" fmla="*/ 316 h 375"/>
              <a:gd name="T72" fmla="*/ 16 w 290"/>
              <a:gd name="T73" fmla="*/ 316 h 375"/>
              <a:gd name="T74" fmla="*/ 4 w 290"/>
              <a:gd name="T75" fmla="*/ 309 h 375"/>
              <a:gd name="T76" fmla="*/ 0 w 290"/>
              <a:gd name="T77" fmla="*/ 250 h 375"/>
              <a:gd name="T78" fmla="*/ 86 w 290"/>
              <a:gd name="T79" fmla="*/ 175 h 375"/>
              <a:gd name="T80" fmla="*/ 132 w 290"/>
              <a:gd name="T81" fmla="*/ 215 h 375"/>
              <a:gd name="T82" fmla="*/ 65 w 290"/>
              <a:gd name="T83" fmla="*/ 273 h 375"/>
              <a:gd name="T84" fmla="*/ 143 w 290"/>
              <a:gd name="T85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moveTo>
                  <a:pt x="256" y="323"/>
                </a:moveTo>
                <a:lnTo>
                  <a:pt x="258" y="322"/>
                </a:lnTo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DB99AAB-A718-4449-AB16-AE61CF4E51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4" y="317661"/>
            <a:ext cx="10367999" cy="78406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</a:t>
            </a:r>
            <a:br>
              <a:rPr lang="en-US" dirty="0"/>
            </a:br>
            <a:r>
              <a:rPr lang="en-US" dirty="0"/>
              <a:t> title styl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1C0A2E23-A9FB-4DCE-BDDE-21E279ABE4A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913" y="1341436"/>
            <a:ext cx="5194094" cy="4967287"/>
          </a:xfrm>
        </p:spPr>
        <p:txBody>
          <a:bodyPr>
            <a:normAutofit/>
          </a:bodyPr>
          <a:lstStyle>
            <a:lvl1pPr marL="0" indent="0">
              <a:buNone/>
              <a:defRPr sz="2800">
                <a:solidFill>
                  <a:schemeClr val="bg1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Freeform 45">
            <a:extLst>
              <a:ext uri="{FF2B5EF4-FFF2-40B4-BE49-F238E27FC236}">
                <a16:creationId xmlns:a16="http://schemas.microsoft.com/office/drawing/2014/main" id="{3E472225-1D27-4171-9A1F-DC18E9984C54}"/>
              </a:ext>
            </a:extLst>
          </p:cNvPr>
          <p:cNvSpPr>
            <a:spLocks noEditPoints="1"/>
          </p:cNvSpPr>
          <p:nvPr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143 w 290"/>
              <a:gd name="T11" fmla="*/ 313 h 375"/>
              <a:gd name="T12" fmla="*/ 222 w 290"/>
              <a:gd name="T13" fmla="*/ 273 h 375"/>
              <a:gd name="T14" fmla="*/ 18 w 290"/>
              <a:gd name="T15" fmla="*/ 95 h 375"/>
              <a:gd name="T16" fmla="*/ 3 w 290"/>
              <a:gd name="T17" fmla="*/ 83 h 375"/>
              <a:gd name="T18" fmla="*/ 3 w 290"/>
              <a:gd name="T19" fmla="*/ 83 h 375"/>
              <a:gd name="T20" fmla="*/ 0 w 290"/>
              <a:gd name="T21" fmla="*/ 80 h 375"/>
              <a:gd name="T22" fmla="*/ 4 w 290"/>
              <a:gd name="T23" fmla="*/ 21 h 375"/>
              <a:gd name="T24" fmla="*/ 139 w 290"/>
              <a:gd name="T25" fmla="*/ 0 h 375"/>
              <a:gd name="T26" fmla="*/ 147 w 290"/>
              <a:gd name="T27" fmla="*/ 0 h 375"/>
              <a:gd name="T28" fmla="*/ 215 w 290"/>
              <a:gd name="T29" fmla="*/ 11 h 375"/>
              <a:gd name="T30" fmla="*/ 230 w 290"/>
              <a:gd name="T31" fmla="*/ 13 h 375"/>
              <a:gd name="T32" fmla="*/ 267 w 290"/>
              <a:gd name="T33" fmla="*/ 19 h 375"/>
              <a:gd name="T34" fmla="*/ 290 w 290"/>
              <a:gd name="T35" fmla="*/ 46 h 375"/>
              <a:gd name="T36" fmla="*/ 290 w 290"/>
              <a:gd name="T37" fmla="*/ 118 h 375"/>
              <a:gd name="T38" fmla="*/ 230 w 290"/>
              <a:gd name="T39" fmla="*/ 144 h 375"/>
              <a:gd name="T40" fmla="*/ 230 w 290"/>
              <a:gd name="T41" fmla="*/ 74 h 375"/>
              <a:gd name="T42" fmla="*/ 143 w 290"/>
              <a:gd name="T43" fmla="*/ 61 h 375"/>
              <a:gd name="T44" fmla="*/ 81 w 290"/>
              <a:gd name="T45" fmla="*/ 71 h 375"/>
              <a:gd name="T46" fmla="*/ 96 w 290"/>
              <a:gd name="T47" fmla="*/ 83 h 375"/>
              <a:gd name="T48" fmla="*/ 96 w 290"/>
              <a:gd name="T49" fmla="*/ 83 h 375"/>
              <a:gd name="T50" fmla="*/ 283 w 290"/>
              <a:gd name="T51" fmla="*/ 247 h 375"/>
              <a:gd name="T52" fmla="*/ 283 w 290"/>
              <a:gd name="T53" fmla="*/ 247 h 375"/>
              <a:gd name="T54" fmla="*/ 288 w 290"/>
              <a:gd name="T55" fmla="*/ 250 h 375"/>
              <a:gd name="T56" fmla="*/ 283 w 290"/>
              <a:gd name="T57" fmla="*/ 309 h 375"/>
              <a:gd name="T58" fmla="*/ 270 w 290"/>
              <a:gd name="T59" fmla="*/ 316 h 375"/>
              <a:gd name="T60" fmla="*/ 258 w 290"/>
              <a:gd name="T61" fmla="*/ 322 h 375"/>
              <a:gd name="T62" fmla="*/ 156 w 290"/>
              <a:gd name="T63" fmla="*/ 375 h 375"/>
              <a:gd name="T64" fmla="*/ 131 w 290"/>
              <a:gd name="T65" fmla="*/ 375 h 375"/>
              <a:gd name="T66" fmla="*/ 31 w 290"/>
              <a:gd name="T67" fmla="*/ 323 h 375"/>
              <a:gd name="T68" fmla="*/ 31 w 290"/>
              <a:gd name="T69" fmla="*/ 323 h 375"/>
              <a:gd name="T70" fmla="*/ 18 w 290"/>
              <a:gd name="T71" fmla="*/ 316 h 375"/>
              <a:gd name="T72" fmla="*/ 16 w 290"/>
              <a:gd name="T73" fmla="*/ 316 h 375"/>
              <a:gd name="T74" fmla="*/ 4 w 290"/>
              <a:gd name="T75" fmla="*/ 309 h 375"/>
              <a:gd name="T76" fmla="*/ 0 w 290"/>
              <a:gd name="T77" fmla="*/ 250 h 375"/>
              <a:gd name="T78" fmla="*/ 86 w 290"/>
              <a:gd name="T79" fmla="*/ 175 h 375"/>
              <a:gd name="T80" fmla="*/ 132 w 290"/>
              <a:gd name="T81" fmla="*/ 215 h 375"/>
              <a:gd name="T82" fmla="*/ 65 w 290"/>
              <a:gd name="T83" fmla="*/ 273 h 375"/>
              <a:gd name="T84" fmla="*/ 143 w 290"/>
              <a:gd name="T85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moveTo>
                  <a:pt x="256" y="323"/>
                </a:moveTo>
                <a:lnTo>
                  <a:pt x="258" y="322"/>
                </a:lnTo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E286623-E934-4C3F-85AA-1B9B6C9F44EF}"/>
              </a:ext>
            </a:extLst>
          </p:cNvPr>
          <p:cNvSpPr/>
          <p:nvPr/>
        </p:nvSpPr>
        <p:spPr>
          <a:xfrm>
            <a:off x="240702" y="360844"/>
            <a:ext cx="76200" cy="626849"/>
          </a:xfrm>
          <a:prstGeom prst="rect">
            <a:avLst/>
          </a:prstGeom>
          <a:solidFill>
            <a:schemeClr val="accent5">
              <a:lumMod val="10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9" name="Freeform 45">
            <a:extLst>
              <a:ext uri="{FF2B5EF4-FFF2-40B4-BE49-F238E27FC236}">
                <a16:creationId xmlns:a16="http://schemas.microsoft.com/office/drawing/2014/main" id="{8ABE9E57-EEE0-4438-BA8E-527B3E7B117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143 w 290"/>
              <a:gd name="T11" fmla="*/ 313 h 375"/>
              <a:gd name="T12" fmla="*/ 222 w 290"/>
              <a:gd name="T13" fmla="*/ 273 h 375"/>
              <a:gd name="T14" fmla="*/ 18 w 290"/>
              <a:gd name="T15" fmla="*/ 95 h 375"/>
              <a:gd name="T16" fmla="*/ 3 w 290"/>
              <a:gd name="T17" fmla="*/ 83 h 375"/>
              <a:gd name="T18" fmla="*/ 3 w 290"/>
              <a:gd name="T19" fmla="*/ 83 h 375"/>
              <a:gd name="T20" fmla="*/ 0 w 290"/>
              <a:gd name="T21" fmla="*/ 80 h 375"/>
              <a:gd name="T22" fmla="*/ 4 w 290"/>
              <a:gd name="T23" fmla="*/ 21 h 375"/>
              <a:gd name="T24" fmla="*/ 139 w 290"/>
              <a:gd name="T25" fmla="*/ 0 h 375"/>
              <a:gd name="T26" fmla="*/ 147 w 290"/>
              <a:gd name="T27" fmla="*/ 0 h 375"/>
              <a:gd name="T28" fmla="*/ 215 w 290"/>
              <a:gd name="T29" fmla="*/ 11 h 375"/>
              <a:gd name="T30" fmla="*/ 230 w 290"/>
              <a:gd name="T31" fmla="*/ 13 h 375"/>
              <a:gd name="T32" fmla="*/ 267 w 290"/>
              <a:gd name="T33" fmla="*/ 19 h 375"/>
              <a:gd name="T34" fmla="*/ 290 w 290"/>
              <a:gd name="T35" fmla="*/ 46 h 375"/>
              <a:gd name="T36" fmla="*/ 290 w 290"/>
              <a:gd name="T37" fmla="*/ 118 h 375"/>
              <a:gd name="T38" fmla="*/ 230 w 290"/>
              <a:gd name="T39" fmla="*/ 144 h 375"/>
              <a:gd name="T40" fmla="*/ 230 w 290"/>
              <a:gd name="T41" fmla="*/ 74 h 375"/>
              <a:gd name="T42" fmla="*/ 143 w 290"/>
              <a:gd name="T43" fmla="*/ 61 h 375"/>
              <a:gd name="T44" fmla="*/ 81 w 290"/>
              <a:gd name="T45" fmla="*/ 71 h 375"/>
              <a:gd name="T46" fmla="*/ 96 w 290"/>
              <a:gd name="T47" fmla="*/ 83 h 375"/>
              <a:gd name="T48" fmla="*/ 96 w 290"/>
              <a:gd name="T49" fmla="*/ 83 h 375"/>
              <a:gd name="T50" fmla="*/ 283 w 290"/>
              <a:gd name="T51" fmla="*/ 247 h 375"/>
              <a:gd name="T52" fmla="*/ 283 w 290"/>
              <a:gd name="T53" fmla="*/ 247 h 375"/>
              <a:gd name="T54" fmla="*/ 288 w 290"/>
              <a:gd name="T55" fmla="*/ 250 h 375"/>
              <a:gd name="T56" fmla="*/ 283 w 290"/>
              <a:gd name="T57" fmla="*/ 309 h 375"/>
              <a:gd name="T58" fmla="*/ 270 w 290"/>
              <a:gd name="T59" fmla="*/ 316 h 375"/>
              <a:gd name="T60" fmla="*/ 258 w 290"/>
              <a:gd name="T61" fmla="*/ 322 h 375"/>
              <a:gd name="T62" fmla="*/ 156 w 290"/>
              <a:gd name="T63" fmla="*/ 375 h 375"/>
              <a:gd name="T64" fmla="*/ 131 w 290"/>
              <a:gd name="T65" fmla="*/ 375 h 375"/>
              <a:gd name="T66" fmla="*/ 31 w 290"/>
              <a:gd name="T67" fmla="*/ 323 h 375"/>
              <a:gd name="T68" fmla="*/ 31 w 290"/>
              <a:gd name="T69" fmla="*/ 323 h 375"/>
              <a:gd name="T70" fmla="*/ 18 w 290"/>
              <a:gd name="T71" fmla="*/ 316 h 375"/>
              <a:gd name="T72" fmla="*/ 16 w 290"/>
              <a:gd name="T73" fmla="*/ 316 h 375"/>
              <a:gd name="T74" fmla="*/ 4 w 290"/>
              <a:gd name="T75" fmla="*/ 309 h 375"/>
              <a:gd name="T76" fmla="*/ 0 w 290"/>
              <a:gd name="T77" fmla="*/ 250 h 375"/>
              <a:gd name="T78" fmla="*/ 86 w 290"/>
              <a:gd name="T79" fmla="*/ 175 h 375"/>
              <a:gd name="T80" fmla="*/ 132 w 290"/>
              <a:gd name="T81" fmla="*/ 215 h 375"/>
              <a:gd name="T82" fmla="*/ 65 w 290"/>
              <a:gd name="T83" fmla="*/ 273 h 375"/>
              <a:gd name="T84" fmla="*/ 143 w 290"/>
              <a:gd name="T85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moveTo>
                  <a:pt x="256" y="323"/>
                </a:moveTo>
                <a:lnTo>
                  <a:pt x="258" y="322"/>
                </a:lnTo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CCE8CE4-6F6D-4D6E-BA70-62B67A8FBAAA}"/>
              </a:ext>
            </a:extLst>
          </p:cNvPr>
          <p:cNvSpPr/>
          <p:nvPr userDrawn="1"/>
        </p:nvSpPr>
        <p:spPr>
          <a:xfrm>
            <a:off x="240702" y="360844"/>
            <a:ext cx="76200" cy="626849"/>
          </a:xfrm>
          <a:prstGeom prst="rect">
            <a:avLst/>
          </a:prstGeom>
          <a:solidFill>
            <a:schemeClr val="accent5">
              <a:lumMod val="10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522286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Slide 1">
    <p:bg>
      <p:bgPr>
        <a:gradFill>
          <a:gsLst>
            <a:gs pos="5000">
              <a:schemeClr val="accent1"/>
            </a:gs>
            <a:gs pos="100000">
              <a:schemeClr val="accent2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Freeform 44">
            <a:extLst>
              <a:ext uri="{FF2B5EF4-FFF2-40B4-BE49-F238E27FC236}">
                <a16:creationId xmlns:a16="http://schemas.microsoft.com/office/drawing/2014/main" id="{69196B9C-0D13-41C0-B8B0-CDC040CD2C61}"/>
              </a:ext>
            </a:extLst>
          </p:cNvPr>
          <p:cNvSpPr>
            <a:spLocks noEditPoints="1"/>
          </p:cNvSpPr>
          <p:nvPr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256 w 290"/>
              <a:gd name="T11" fmla="*/ 323 h 375"/>
              <a:gd name="T12" fmla="*/ 143 w 290"/>
              <a:gd name="T13" fmla="*/ 313 h 375"/>
              <a:gd name="T14" fmla="*/ 222 w 290"/>
              <a:gd name="T15" fmla="*/ 273 h 375"/>
              <a:gd name="T16" fmla="*/ 18 w 290"/>
              <a:gd name="T17" fmla="*/ 95 h 375"/>
              <a:gd name="T18" fmla="*/ 3 w 290"/>
              <a:gd name="T19" fmla="*/ 83 h 375"/>
              <a:gd name="T20" fmla="*/ 3 w 290"/>
              <a:gd name="T21" fmla="*/ 83 h 375"/>
              <a:gd name="T22" fmla="*/ 0 w 290"/>
              <a:gd name="T23" fmla="*/ 80 h 375"/>
              <a:gd name="T24" fmla="*/ 4 w 290"/>
              <a:gd name="T25" fmla="*/ 21 h 375"/>
              <a:gd name="T26" fmla="*/ 139 w 290"/>
              <a:gd name="T27" fmla="*/ 0 h 375"/>
              <a:gd name="T28" fmla="*/ 147 w 290"/>
              <a:gd name="T29" fmla="*/ 0 h 375"/>
              <a:gd name="T30" fmla="*/ 215 w 290"/>
              <a:gd name="T31" fmla="*/ 11 h 375"/>
              <a:gd name="T32" fmla="*/ 230 w 290"/>
              <a:gd name="T33" fmla="*/ 13 h 375"/>
              <a:gd name="T34" fmla="*/ 267 w 290"/>
              <a:gd name="T35" fmla="*/ 19 h 375"/>
              <a:gd name="T36" fmla="*/ 290 w 290"/>
              <a:gd name="T37" fmla="*/ 46 h 375"/>
              <a:gd name="T38" fmla="*/ 290 w 290"/>
              <a:gd name="T39" fmla="*/ 118 h 375"/>
              <a:gd name="T40" fmla="*/ 230 w 290"/>
              <a:gd name="T41" fmla="*/ 144 h 375"/>
              <a:gd name="T42" fmla="*/ 230 w 290"/>
              <a:gd name="T43" fmla="*/ 74 h 375"/>
              <a:gd name="T44" fmla="*/ 143 w 290"/>
              <a:gd name="T45" fmla="*/ 61 h 375"/>
              <a:gd name="T46" fmla="*/ 81 w 290"/>
              <a:gd name="T47" fmla="*/ 71 h 375"/>
              <a:gd name="T48" fmla="*/ 96 w 290"/>
              <a:gd name="T49" fmla="*/ 83 h 375"/>
              <a:gd name="T50" fmla="*/ 96 w 290"/>
              <a:gd name="T51" fmla="*/ 83 h 375"/>
              <a:gd name="T52" fmla="*/ 283 w 290"/>
              <a:gd name="T53" fmla="*/ 247 h 375"/>
              <a:gd name="T54" fmla="*/ 283 w 290"/>
              <a:gd name="T55" fmla="*/ 247 h 375"/>
              <a:gd name="T56" fmla="*/ 288 w 290"/>
              <a:gd name="T57" fmla="*/ 250 h 375"/>
              <a:gd name="T58" fmla="*/ 283 w 290"/>
              <a:gd name="T59" fmla="*/ 309 h 375"/>
              <a:gd name="T60" fmla="*/ 270 w 290"/>
              <a:gd name="T61" fmla="*/ 316 h 375"/>
              <a:gd name="T62" fmla="*/ 258 w 290"/>
              <a:gd name="T63" fmla="*/ 322 h 375"/>
              <a:gd name="T64" fmla="*/ 156 w 290"/>
              <a:gd name="T65" fmla="*/ 375 h 375"/>
              <a:gd name="T66" fmla="*/ 131 w 290"/>
              <a:gd name="T67" fmla="*/ 375 h 375"/>
              <a:gd name="T68" fmla="*/ 31 w 290"/>
              <a:gd name="T69" fmla="*/ 323 h 375"/>
              <a:gd name="T70" fmla="*/ 31 w 290"/>
              <a:gd name="T71" fmla="*/ 323 h 375"/>
              <a:gd name="T72" fmla="*/ 18 w 290"/>
              <a:gd name="T73" fmla="*/ 316 h 375"/>
              <a:gd name="T74" fmla="*/ 16 w 290"/>
              <a:gd name="T75" fmla="*/ 316 h 375"/>
              <a:gd name="T76" fmla="*/ 4 w 290"/>
              <a:gd name="T77" fmla="*/ 309 h 375"/>
              <a:gd name="T78" fmla="*/ 0 w 290"/>
              <a:gd name="T79" fmla="*/ 250 h 375"/>
              <a:gd name="T80" fmla="*/ 86 w 290"/>
              <a:gd name="T81" fmla="*/ 175 h 375"/>
              <a:gd name="T82" fmla="*/ 132 w 290"/>
              <a:gd name="T83" fmla="*/ 215 h 375"/>
              <a:gd name="T84" fmla="*/ 65 w 290"/>
              <a:gd name="T85" fmla="*/ 273 h 375"/>
              <a:gd name="T86" fmla="*/ 143 w 290"/>
              <a:gd name="T87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close/>
                <a:moveTo>
                  <a:pt x="256" y="323"/>
                </a:moveTo>
                <a:lnTo>
                  <a:pt x="258" y="322"/>
                </a:lnTo>
                <a:lnTo>
                  <a:pt x="256" y="323"/>
                </a:lnTo>
                <a:close/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  <a:close/>
              </a:path>
            </a:pathLst>
          </a:custGeom>
          <a:solidFill>
            <a:schemeClr val="accent1">
              <a:lumMod val="75000"/>
              <a:alpha val="14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9" name="Freeform 45">
            <a:extLst>
              <a:ext uri="{FF2B5EF4-FFF2-40B4-BE49-F238E27FC236}">
                <a16:creationId xmlns:a16="http://schemas.microsoft.com/office/drawing/2014/main" id="{FA26C795-A228-45BC-9FD6-9F4B38F5758E}"/>
              </a:ext>
            </a:extLst>
          </p:cNvPr>
          <p:cNvSpPr>
            <a:spLocks noEditPoints="1"/>
          </p:cNvSpPr>
          <p:nvPr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143 w 290"/>
              <a:gd name="T11" fmla="*/ 313 h 375"/>
              <a:gd name="T12" fmla="*/ 222 w 290"/>
              <a:gd name="T13" fmla="*/ 273 h 375"/>
              <a:gd name="T14" fmla="*/ 18 w 290"/>
              <a:gd name="T15" fmla="*/ 95 h 375"/>
              <a:gd name="T16" fmla="*/ 3 w 290"/>
              <a:gd name="T17" fmla="*/ 83 h 375"/>
              <a:gd name="T18" fmla="*/ 3 w 290"/>
              <a:gd name="T19" fmla="*/ 83 h 375"/>
              <a:gd name="T20" fmla="*/ 0 w 290"/>
              <a:gd name="T21" fmla="*/ 80 h 375"/>
              <a:gd name="T22" fmla="*/ 4 w 290"/>
              <a:gd name="T23" fmla="*/ 21 h 375"/>
              <a:gd name="T24" fmla="*/ 139 w 290"/>
              <a:gd name="T25" fmla="*/ 0 h 375"/>
              <a:gd name="T26" fmla="*/ 147 w 290"/>
              <a:gd name="T27" fmla="*/ 0 h 375"/>
              <a:gd name="T28" fmla="*/ 215 w 290"/>
              <a:gd name="T29" fmla="*/ 11 h 375"/>
              <a:gd name="T30" fmla="*/ 230 w 290"/>
              <a:gd name="T31" fmla="*/ 13 h 375"/>
              <a:gd name="T32" fmla="*/ 267 w 290"/>
              <a:gd name="T33" fmla="*/ 19 h 375"/>
              <a:gd name="T34" fmla="*/ 290 w 290"/>
              <a:gd name="T35" fmla="*/ 46 h 375"/>
              <a:gd name="T36" fmla="*/ 290 w 290"/>
              <a:gd name="T37" fmla="*/ 118 h 375"/>
              <a:gd name="T38" fmla="*/ 230 w 290"/>
              <a:gd name="T39" fmla="*/ 144 h 375"/>
              <a:gd name="T40" fmla="*/ 230 w 290"/>
              <a:gd name="T41" fmla="*/ 74 h 375"/>
              <a:gd name="T42" fmla="*/ 143 w 290"/>
              <a:gd name="T43" fmla="*/ 61 h 375"/>
              <a:gd name="T44" fmla="*/ 81 w 290"/>
              <a:gd name="T45" fmla="*/ 71 h 375"/>
              <a:gd name="T46" fmla="*/ 96 w 290"/>
              <a:gd name="T47" fmla="*/ 83 h 375"/>
              <a:gd name="T48" fmla="*/ 96 w 290"/>
              <a:gd name="T49" fmla="*/ 83 h 375"/>
              <a:gd name="T50" fmla="*/ 283 w 290"/>
              <a:gd name="T51" fmla="*/ 247 h 375"/>
              <a:gd name="T52" fmla="*/ 283 w 290"/>
              <a:gd name="T53" fmla="*/ 247 h 375"/>
              <a:gd name="T54" fmla="*/ 288 w 290"/>
              <a:gd name="T55" fmla="*/ 250 h 375"/>
              <a:gd name="T56" fmla="*/ 283 w 290"/>
              <a:gd name="T57" fmla="*/ 309 h 375"/>
              <a:gd name="T58" fmla="*/ 270 w 290"/>
              <a:gd name="T59" fmla="*/ 316 h 375"/>
              <a:gd name="T60" fmla="*/ 258 w 290"/>
              <a:gd name="T61" fmla="*/ 322 h 375"/>
              <a:gd name="T62" fmla="*/ 156 w 290"/>
              <a:gd name="T63" fmla="*/ 375 h 375"/>
              <a:gd name="T64" fmla="*/ 131 w 290"/>
              <a:gd name="T65" fmla="*/ 375 h 375"/>
              <a:gd name="T66" fmla="*/ 31 w 290"/>
              <a:gd name="T67" fmla="*/ 323 h 375"/>
              <a:gd name="T68" fmla="*/ 31 w 290"/>
              <a:gd name="T69" fmla="*/ 323 h 375"/>
              <a:gd name="T70" fmla="*/ 18 w 290"/>
              <a:gd name="T71" fmla="*/ 316 h 375"/>
              <a:gd name="T72" fmla="*/ 16 w 290"/>
              <a:gd name="T73" fmla="*/ 316 h 375"/>
              <a:gd name="T74" fmla="*/ 4 w 290"/>
              <a:gd name="T75" fmla="*/ 309 h 375"/>
              <a:gd name="T76" fmla="*/ 0 w 290"/>
              <a:gd name="T77" fmla="*/ 250 h 375"/>
              <a:gd name="T78" fmla="*/ 86 w 290"/>
              <a:gd name="T79" fmla="*/ 175 h 375"/>
              <a:gd name="T80" fmla="*/ 132 w 290"/>
              <a:gd name="T81" fmla="*/ 215 h 375"/>
              <a:gd name="T82" fmla="*/ 65 w 290"/>
              <a:gd name="T83" fmla="*/ 273 h 375"/>
              <a:gd name="T84" fmla="*/ 143 w 290"/>
              <a:gd name="T85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moveTo>
                  <a:pt x="256" y="323"/>
                </a:moveTo>
                <a:lnTo>
                  <a:pt x="258" y="322"/>
                </a:lnTo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Freeform 45">
            <a:extLst>
              <a:ext uri="{FF2B5EF4-FFF2-40B4-BE49-F238E27FC236}">
                <a16:creationId xmlns:a16="http://schemas.microsoft.com/office/drawing/2014/main" id="{3E472225-1D27-4171-9A1F-DC18E9984C54}"/>
              </a:ext>
            </a:extLst>
          </p:cNvPr>
          <p:cNvSpPr>
            <a:spLocks noEditPoints="1"/>
          </p:cNvSpPr>
          <p:nvPr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143 w 290"/>
              <a:gd name="T11" fmla="*/ 313 h 375"/>
              <a:gd name="T12" fmla="*/ 222 w 290"/>
              <a:gd name="T13" fmla="*/ 273 h 375"/>
              <a:gd name="T14" fmla="*/ 18 w 290"/>
              <a:gd name="T15" fmla="*/ 95 h 375"/>
              <a:gd name="T16" fmla="*/ 3 w 290"/>
              <a:gd name="T17" fmla="*/ 83 h 375"/>
              <a:gd name="T18" fmla="*/ 3 w 290"/>
              <a:gd name="T19" fmla="*/ 83 h 375"/>
              <a:gd name="T20" fmla="*/ 0 w 290"/>
              <a:gd name="T21" fmla="*/ 80 h 375"/>
              <a:gd name="T22" fmla="*/ 4 w 290"/>
              <a:gd name="T23" fmla="*/ 21 h 375"/>
              <a:gd name="T24" fmla="*/ 139 w 290"/>
              <a:gd name="T25" fmla="*/ 0 h 375"/>
              <a:gd name="T26" fmla="*/ 147 w 290"/>
              <a:gd name="T27" fmla="*/ 0 h 375"/>
              <a:gd name="T28" fmla="*/ 215 w 290"/>
              <a:gd name="T29" fmla="*/ 11 h 375"/>
              <a:gd name="T30" fmla="*/ 230 w 290"/>
              <a:gd name="T31" fmla="*/ 13 h 375"/>
              <a:gd name="T32" fmla="*/ 267 w 290"/>
              <a:gd name="T33" fmla="*/ 19 h 375"/>
              <a:gd name="T34" fmla="*/ 290 w 290"/>
              <a:gd name="T35" fmla="*/ 46 h 375"/>
              <a:gd name="T36" fmla="*/ 290 w 290"/>
              <a:gd name="T37" fmla="*/ 118 h 375"/>
              <a:gd name="T38" fmla="*/ 230 w 290"/>
              <a:gd name="T39" fmla="*/ 144 h 375"/>
              <a:gd name="T40" fmla="*/ 230 w 290"/>
              <a:gd name="T41" fmla="*/ 74 h 375"/>
              <a:gd name="T42" fmla="*/ 143 w 290"/>
              <a:gd name="T43" fmla="*/ 61 h 375"/>
              <a:gd name="T44" fmla="*/ 81 w 290"/>
              <a:gd name="T45" fmla="*/ 71 h 375"/>
              <a:gd name="T46" fmla="*/ 96 w 290"/>
              <a:gd name="T47" fmla="*/ 83 h 375"/>
              <a:gd name="T48" fmla="*/ 96 w 290"/>
              <a:gd name="T49" fmla="*/ 83 h 375"/>
              <a:gd name="T50" fmla="*/ 283 w 290"/>
              <a:gd name="T51" fmla="*/ 247 h 375"/>
              <a:gd name="T52" fmla="*/ 283 w 290"/>
              <a:gd name="T53" fmla="*/ 247 h 375"/>
              <a:gd name="T54" fmla="*/ 288 w 290"/>
              <a:gd name="T55" fmla="*/ 250 h 375"/>
              <a:gd name="T56" fmla="*/ 283 w 290"/>
              <a:gd name="T57" fmla="*/ 309 h 375"/>
              <a:gd name="T58" fmla="*/ 270 w 290"/>
              <a:gd name="T59" fmla="*/ 316 h 375"/>
              <a:gd name="T60" fmla="*/ 258 w 290"/>
              <a:gd name="T61" fmla="*/ 322 h 375"/>
              <a:gd name="T62" fmla="*/ 156 w 290"/>
              <a:gd name="T63" fmla="*/ 375 h 375"/>
              <a:gd name="T64" fmla="*/ 131 w 290"/>
              <a:gd name="T65" fmla="*/ 375 h 375"/>
              <a:gd name="T66" fmla="*/ 31 w 290"/>
              <a:gd name="T67" fmla="*/ 323 h 375"/>
              <a:gd name="T68" fmla="*/ 31 w 290"/>
              <a:gd name="T69" fmla="*/ 323 h 375"/>
              <a:gd name="T70" fmla="*/ 18 w 290"/>
              <a:gd name="T71" fmla="*/ 316 h 375"/>
              <a:gd name="T72" fmla="*/ 16 w 290"/>
              <a:gd name="T73" fmla="*/ 316 h 375"/>
              <a:gd name="T74" fmla="*/ 4 w 290"/>
              <a:gd name="T75" fmla="*/ 309 h 375"/>
              <a:gd name="T76" fmla="*/ 0 w 290"/>
              <a:gd name="T77" fmla="*/ 250 h 375"/>
              <a:gd name="T78" fmla="*/ 86 w 290"/>
              <a:gd name="T79" fmla="*/ 175 h 375"/>
              <a:gd name="T80" fmla="*/ 132 w 290"/>
              <a:gd name="T81" fmla="*/ 215 h 375"/>
              <a:gd name="T82" fmla="*/ 65 w 290"/>
              <a:gd name="T83" fmla="*/ 273 h 375"/>
              <a:gd name="T84" fmla="*/ 143 w 290"/>
              <a:gd name="T85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moveTo>
                  <a:pt x="256" y="323"/>
                </a:moveTo>
                <a:lnTo>
                  <a:pt x="258" y="322"/>
                </a:lnTo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81576C2A-F971-4013-B5C9-628794A2B3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4559300"/>
            <a:ext cx="4814887" cy="481467"/>
          </a:xfrm>
        </p:spPr>
        <p:txBody>
          <a:bodyPr anchor="b">
            <a:noAutofit/>
          </a:bodyPr>
          <a:lstStyle>
            <a:lvl1pPr algn="l"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F0262607-5D9E-4C0E-85EF-C58325EA407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42913" y="5063331"/>
            <a:ext cx="4814887" cy="998538"/>
          </a:xfrm>
        </p:spPr>
        <p:txBody>
          <a:bodyPr>
            <a:noAutofit/>
          </a:bodyPr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Freeform 44">
            <a:extLst>
              <a:ext uri="{FF2B5EF4-FFF2-40B4-BE49-F238E27FC236}">
                <a16:creationId xmlns:a16="http://schemas.microsoft.com/office/drawing/2014/main" id="{8CBB30A4-3CAE-403A-B477-882D83D5CB3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256 w 290"/>
              <a:gd name="T11" fmla="*/ 323 h 375"/>
              <a:gd name="T12" fmla="*/ 143 w 290"/>
              <a:gd name="T13" fmla="*/ 313 h 375"/>
              <a:gd name="T14" fmla="*/ 222 w 290"/>
              <a:gd name="T15" fmla="*/ 273 h 375"/>
              <a:gd name="T16" fmla="*/ 18 w 290"/>
              <a:gd name="T17" fmla="*/ 95 h 375"/>
              <a:gd name="T18" fmla="*/ 3 w 290"/>
              <a:gd name="T19" fmla="*/ 83 h 375"/>
              <a:gd name="T20" fmla="*/ 3 w 290"/>
              <a:gd name="T21" fmla="*/ 83 h 375"/>
              <a:gd name="T22" fmla="*/ 0 w 290"/>
              <a:gd name="T23" fmla="*/ 80 h 375"/>
              <a:gd name="T24" fmla="*/ 4 w 290"/>
              <a:gd name="T25" fmla="*/ 21 h 375"/>
              <a:gd name="T26" fmla="*/ 139 w 290"/>
              <a:gd name="T27" fmla="*/ 0 h 375"/>
              <a:gd name="T28" fmla="*/ 147 w 290"/>
              <a:gd name="T29" fmla="*/ 0 h 375"/>
              <a:gd name="T30" fmla="*/ 215 w 290"/>
              <a:gd name="T31" fmla="*/ 11 h 375"/>
              <a:gd name="T32" fmla="*/ 230 w 290"/>
              <a:gd name="T33" fmla="*/ 13 h 375"/>
              <a:gd name="T34" fmla="*/ 267 w 290"/>
              <a:gd name="T35" fmla="*/ 19 h 375"/>
              <a:gd name="T36" fmla="*/ 290 w 290"/>
              <a:gd name="T37" fmla="*/ 46 h 375"/>
              <a:gd name="T38" fmla="*/ 290 w 290"/>
              <a:gd name="T39" fmla="*/ 118 h 375"/>
              <a:gd name="T40" fmla="*/ 230 w 290"/>
              <a:gd name="T41" fmla="*/ 144 h 375"/>
              <a:gd name="T42" fmla="*/ 230 w 290"/>
              <a:gd name="T43" fmla="*/ 74 h 375"/>
              <a:gd name="T44" fmla="*/ 143 w 290"/>
              <a:gd name="T45" fmla="*/ 61 h 375"/>
              <a:gd name="T46" fmla="*/ 81 w 290"/>
              <a:gd name="T47" fmla="*/ 71 h 375"/>
              <a:gd name="T48" fmla="*/ 96 w 290"/>
              <a:gd name="T49" fmla="*/ 83 h 375"/>
              <a:gd name="T50" fmla="*/ 96 w 290"/>
              <a:gd name="T51" fmla="*/ 83 h 375"/>
              <a:gd name="T52" fmla="*/ 283 w 290"/>
              <a:gd name="T53" fmla="*/ 247 h 375"/>
              <a:gd name="T54" fmla="*/ 283 w 290"/>
              <a:gd name="T55" fmla="*/ 247 h 375"/>
              <a:gd name="T56" fmla="*/ 288 w 290"/>
              <a:gd name="T57" fmla="*/ 250 h 375"/>
              <a:gd name="T58" fmla="*/ 283 w 290"/>
              <a:gd name="T59" fmla="*/ 309 h 375"/>
              <a:gd name="T60" fmla="*/ 270 w 290"/>
              <a:gd name="T61" fmla="*/ 316 h 375"/>
              <a:gd name="T62" fmla="*/ 258 w 290"/>
              <a:gd name="T63" fmla="*/ 322 h 375"/>
              <a:gd name="T64" fmla="*/ 156 w 290"/>
              <a:gd name="T65" fmla="*/ 375 h 375"/>
              <a:gd name="T66" fmla="*/ 131 w 290"/>
              <a:gd name="T67" fmla="*/ 375 h 375"/>
              <a:gd name="T68" fmla="*/ 31 w 290"/>
              <a:gd name="T69" fmla="*/ 323 h 375"/>
              <a:gd name="T70" fmla="*/ 31 w 290"/>
              <a:gd name="T71" fmla="*/ 323 h 375"/>
              <a:gd name="T72" fmla="*/ 18 w 290"/>
              <a:gd name="T73" fmla="*/ 316 h 375"/>
              <a:gd name="T74" fmla="*/ 16 w 290"/>
              <a:gd name="T75" fmla="*/ 316 h 375"/>
              <a:gd name="T76" fmla="*/ 4 w 290"/>
              <a:gd name="T77" fmla="*/ 309 h 375"/>
              <a:gd name="T78" fmla="*/ 0 w 290"/>
              <a:gd name="T79" fmla="*/ 250 h 375"/>
              <a:gd name="T80" fmla="*/ 86 w 290"/>
              <a:gd name="T81" fmla="*/ 175 h 375"/>
              <a:gd name="T82" fmla="*/ 132 w 290"/>
              <a:gd name="T83" fmla="*/ 215 h 375"/>
              <a:gd name="T84" fmla="*/ 65 w 290"/>
              <a:gd name="T85" fmla="*/ 273 h 375"/>
              <a:gd name="T86" fmla="*/ 143 w 290"/>
              <a:gd name="T87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close/>
                <a:moveTo>
                  <a:pt x="256" y="323"/>
                </a:moveTo>
                <a:lnTo>
                  <a:pt x="258" y="322"/>
                </a:lnTo>
                <a:lnTo>
                  <a:pt x="256" y="323"/>
                </a:lnTo>
                <a:close/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  <a:close/>
              </a:path>
            </a:pathLst>
          </a:custGeom>
          <a:solidFill>
            <a:schemeClr val="accent1">
              <a:lumMod val="75000"/>
              <a:alpha val="14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8" name="Freeform 45">
            <a:extLst>
              <a:ext uri="{FF2B5EF4-FFF2-40B4-BE49-F238E27FC236}">
                <a16:creationId xmlns:a16="http://schemas.microsoft.com/office/drawing/2014/main" id="{5C12A34D-0C8C-4AFF-AC66-5FDE57F850A8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143 w 290"/>
              <a:gd name="T11" fmla="*/ 313 h 375"/>
              <a:gd name="T12" fmla="*/ 222 w 290"/>
              <a:gd name="T13" fmla="*/ 273 h 375"/>
              <a:gd name="T14" fmla="*/ 18 w 290"/>
              <a:gd name="T15" fmla="*/ 95 h 375"/>
              <a:gd name="T16" fmla="*/ 3 w 290"/>
              <a:gd name="T17" fmla="*/ 83 h 375"/>
              <a:gd name="T18" fmla="*/ 3 w 290"/>
              <a:gd name="T19" fmla="*/ 83 h 375"/>
              <a:gd name="T20" fmla="*/ 0 w 290"/>
              <a:gd name="T21" fmla="*/ 80 h 375"/>
              <a:gd name="T22" fmla="*/ 4 w 290"/>
              <a:gd name="T23" fmla="*/ 21 h 375"/>
              <a:gd name="T24" fmla="*/ 139 w 290"/>
              <a:gd name="T25" fmla="*/ 0 h 375"/>
              <a:gd name="T26" fmla="*/ 147 w 290"/>
              <a:gd name="T27" fmla="*/ 0 h 375"/>
              <a:gd name="T28" fmla="*/ 215 w 290"/>
              <a:gd name="T29" fmla="*/ 11 h 375"/>
              <a:gd name="T30" fmla="*/ 230 w 290"/>
              <a:gd name="T31" fmla="*/ 13 h 375"/>
              <a:gd name="T32" fmla="*/ 267 w 290"/>
              <a:gd name="T33" fmla="*/ 19 h 375"/>
              <a:gd name="T34" fmla="*/ 290 w 290"/>
              <a:gd name="T35" fmla="*/ 46 h 375"/>
              <a:gd name="T36" fmla="*/ 290 w 290"/>
              <a:gd name="T37" fmla="*/ 118 h 375"/>
              <a:gd name="T38" fmla="*/ 230 w 290"/>
              <a:gd name="T39" fmla="*/ 144 h 375"/>
              <a:gd name="T40" fmla="*/ 230 w 290"/>
              <a:gd name="T41" fmla="*/ 74 h 375"/>
              <a:gd name="T42" fmla="*/ 143 w 290"/>
              <a:gd name="T43" fmla="*/ 61 h 375"/>
              <a:gd name="T44" fmla="*/ 81 w 290"/>
              <a:gd name="T45" fmla="*/ 71 h 375"/>
              <a:gd name="T46" fmla="*/ 96 w 290"/>
              <a:gd name="T47" fmla="*/ 83 h 375"/>
              <a:gd name="T48" fmla="*/ 96 w 290"/>
              <a:gd name="T49" fmla="*/ 83 h 375"/>
              <a:gd name="T50" fmla="*/ 283 w 290"/>
              <a:gd name="T51" fmla="*/ 247 h 375"/>
              <a:gd name="T52" fmla="*/ 283 w 290"/>
              <a:gd name="T53" fmla="*/ 247 h 375"/>
              <a:gd name="T54" fmla="*/ 288 w 290"/>
              <a:gd name="T55" fmla="*/ 250 h 375"/>
              <a:gd name="T56" fmla="*/ 283 w 290"/>
              <a:gd name="T57" fmla="*/ 309 h 375"/>
              <a:gd name="T58" fmla="*/ 270 w 290"/>
              <a:gd name="T59" fmla="*/ 316 h 375"/>
              <a:gd name="T60" fmla="*/ 258 w 290"/>
              <a:gd name="T61" fmla="*/ 322 h 375"/>
              <a:gd name="T62" fmla="*/ 156 w 290"/>
              <a:gd name="T63" fmla="*/ 375 h 375"/>
              <a:gd name="T64" fmla="*/ 131 w 290"/>
              <a:gd name="T65" fmla="*/ 375 h 375"/>
              <a:gd name="T66" fmla="*/ 31 w 290"/>
              <a:gd name="T67" fmla="*/ 323 h 375"/>
              <a:gd name="T68" fmla="*/ 31 w 290"/>
              <a:gd name="T69" fmla="*/ 323 h 375"/>
              <a:gd name="T70" fmla="*/ 18 w 290"/>
              <a:gd name="T71" fmla="*/ 316 h 375"/>
              <a:gd name="T72" fmla="*/ 16 w 290"/>
              <a:gd name="T73" fmla="*/ 316 h 375"/>
              <a:gd name="T74" fmla="*/ 4 w 290"/>
              <a:gd name="T75" fmla="*/ 309 h 375"/>
              <a:gd name="T76" fmla="*/ 0 w 290"/>
              <a:gd name="T77" fmla="*/ 250 h 375"/>
              <a:gd name="T78" fmla="*/ 86 w 290"/>
              <a:gd name="T79" fmla="*/ 175 h 375"/>
              <a:gd name="T80" fmla="*/ 132 w 290"/>
              <a:gd name="T81" fmla="*/ 215 h 375"/>
              <a:gd name="T82" fmla="*/ 65 w 290"/>
              <a:gd name="T83" fmla="*/ 273 h 375"/>
              <a:gd name="T84" fmla="*/ 143 w 290"/>
              <a:gd name="T85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moveTo>
                  <a:pt x="256" y="323"/>
                </a:moveTo>
                <a:lnTo>
                  <a:pt x="258" y="322"/>
                </a:lnTo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802819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Slide 2">
    <p:bg>
      <p:bgPr>
        <a:gradFill>
          <a:gsLst>
            <a:gs pos="3000">
              <a:srgbClr val="88BF2C"/>
            </a:gs>
            <a:gs pos="100000">
              <a:srgbClr val="BBDD8E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2913" y="4559300"/>
            <a:ext cx="4814887" cy="481467"/>
          </a:xfrm>
        </p:spPr>
        <p:txBody>
          <a:bodyPr anchor="b">
            <a:noAutofit/>
          </a:bodyPr>
          <a:lstStyle>
            <a:lvl1pPr algn="l"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10"/>
          </p:nvPr>
        </p:nvSpPr>
        <p:spPr>
          <a:xfrm>
            <a:off x="442913" y="5063331"/>
            <a:ext cx="4814887" cy="998538"/>
          </a:xfrm>
        </p:spPr>
        <p:txBody>
          <a:bodyPr>
            <a:noAutofit/>
          </a:bodyPr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8" name="Freeform 44">
            <a:extLst>
              <a:ext uri="{FF2B5EF4-FFF2-40B4-BE49-F238E27FC236}">
                <a16:creationId xmlns:a16="http://schemas.microsoft.com/office/drawing/2014/main" id="{69196B9C-0D13-41C0-B8B0-CDC040CD2C61}"/>
              </a:ext>
            </a:extLst>
          </p:cNvPr>
          <p:cNvSpPr>
            <a:spLocks noEditPoints="1"/>
          </p:cNvSpPr>
          <p:nvPr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256 w 290"/>
              <a:gd name="T11" fmla="*/ 323 h 375"/>
              <a:gd name="T12" fmla="*/ 143 w 290"/>
              <a:gd name="T13" fmla="*/ 313 h 375"/>
              <a:gd name="T14" fmla="*/ 222 w 290"/>
              <a:gd name="T15" fmla="*/ 273 h 375"/>
              <a:gd name="T16" fmla="*/ 18 w 290"/>
              <a:gd name="T17" fmla="*/ 95 h 375"/>
              <a:gd name="T18" fmla="*/ 3 w 290"/>
              <a:gd name="T19" fmla="*/ 83 h 375"/>
              <a:gd name="T20" fmla="*/ 3 w 290"/>
              <a:gd name="T21" fmla="*/ 83 h 375"/>
              <a:gd name="T22" fmla="*/ 0 w 290"/>
              <a:gd name="T23" fmla="*/ 80 h 375"/>
              <a:gd name="T24" fmla="*/ 4 w 290"/>
              <a:gd name="T25" fmla="*/ 21 h 375"/>
              <a:gd name="T26" fmla="*/ 139 w 290"/>
              <a:gd name="T27" fmla="*/ 0 h 375"/>
              <a:gd name="T28" fmla="*/ 147 w 290"/>
              <a:gd name="T29" fmla="*/ 0 h 375"/>
              <a:gd name="T30" fmla="*/ 215 w 290"/>
              <a:gd name="T31" fmla="*/ 11 h 375"/>
              <a:gd name="T32" fmla="*/ 230 w 290"/>
              <a:gd name="T33" fmla="*/ 13 h 375"/>
              <a:gd name="T34" fmla="*/ 267 w 290"/>
              <a:gd name="T35" fmla="*/ 19 h 375"/>
              <a:gd name="T36" fmla="*/ 290 w 290"/>
              <a:gd name="T37" fmla="*/ 46 h 375"/>
              <a:gd name="T38" fmla="*/ 290 w 290"/>
              <a:gd name="T39" fmla="*/ 118 h 375"/>
              <a:gd name="T40" fmla="*/ 230 w 290"/>
              <a:gd name="T41" fmla="*/ 144 h 375"/>
              <a:gd name="T42" fmla="*/ 230 w 290"/>
              <a:gd name="T43" fmla="*/ 74 h 375"/>
              <a:gd name="T44" fmla="*/ 143 w 290"/>
              <a:gd name="T45" fmla="*/ 61 h 375"/>
              <a:gd name="T46" fmla="*/ 81 w 290"/>
              <a:gd name="T47" fmla="*/ 71 h 375"/>
              <a:gd name="T48" fmla="*/ 96 w 290"/>
              <a:gd name="T49" fmla="*/ 83 h 375"/>
              <a:gd name="T50" fmla="*/ 96 w 290"/>
              <a:gd name="T51" fmla="*/ 83 h 375"/>
              <a:gd name="T52" fmla="*/ 283 w 290"/>
              <a:gd name="T53" fmla="*/ 247 h 375"/>
              <a:gd name="T54" fmla="*/ 283 w 290"/>
              <a:gd name="T55" fmla="*/ 247 h 375"/>
              <a:gd name="T56" fmla="*/ 288 w 290"/>
              <a:gd name="T57" fmla="*/ 250 h 375"/>
              <a:gd name="T58" fmla="*/ 283 w 290"/>
              <a:gd name="T59" fmla="*/ 309 h 375"/>
              <a:gd name="T60" fmla="*/ 270 w 290"/>
              <a:gd name="T61" fmla="*/ 316 h 375"/>
              <a:gd name="T62" fmla="*/ 258 w 290"/>
              <a:gd name="T63" fmla="*/ 322 h 375"/>
              <a:gd name="T64" fmla="*/ 156 w 290"/>
              <a:gd name="T65" fmla="*/ 375 h 375"/>
              <a:gd name="T66" fmla="*/ 131 w 290"/>
              <a:gd name="T67" fmla="*/ 375 h 375"/>
              <a:gd name="T68" fmla="*/ 31 w 290"/>
              <a:gd name="T69" fmla="*/ 323 h 375"/>
              <a:gd name="T70" fmla="*/ 31 w 290"/>
              <a:gd name="T71" fmla="*/ 323 h 375"/>
              <a:gd name="T72" fmla="*/ 18 w 290"/>
              <a:gd name="T73" fmla="*/ 316 h 375"/>
              <a:gd name="T74" fmla="*/ 16 w 290"/>
              <a:gd name="T75" fmla="*/ 316 h 375"/>
              <a:gd name="T76" fmla="*/ 4 w 290"/>
              <a:gd name="T77" fmla="*/ 309 h 375"/>
              <a:gd name="T78" fmla="*/ 0 w 290"/>
              <a:gd name="T79" fmla="*/ 250 h 375"/>
              <a:gd name="T80" fmla="*/ 86 w 290"/>
              <a:gd name="T81" fmla="*/ 175 h 375"/>
              <a:gd name="T82" fmla="*/ 132 w 290"/>
              <a:gd name="T83" fmla="*/ 215 h 375"/>
              <a:gd name="T84" fmla="*/ 65 w 290"/>
              <a:gd name="T85" fmla="*/ 273 h 375"/>
              <a:gd name="T86" fmla="*/ 143 w 290"/>
              <a:gd name="T87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close/>
                <a:moveTo>
                  <a:pt x="256" y="323"/>
                </a:moveTo>
                <a:lnTo>
                  <a:pt x="258" y="322"/>
                </a:lnTo>
                <a:lnTo>
                  <a:pt x="256" y="323"/>
                </a:lnTo>
                <a:close/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  <a:close/>
              </a:path>
            </a:pathLst>
          </a:custGeom>
          <a:solidFill>
            <a:srgbClr val="679222">
              <a:alpha val="12941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9" name="Freeform 45">
            <a:extLst>
              <a:ext uri="{FF2B5EF4-FFF2-40B4-BE49-F238E27FC236}">
                <a16:creationId xmlns:a16="http://schemas.microsoft.com/office/drawing/2014/main" id="{FA26C795-A228-45BC-9FD6-9F4B38F5758E}"/>
              </a:ext>
            </a:extLst>
          </p:cNvPr>
          <p:cNvSpPr>
            <a:spLocks noEditPoints="1"/>
          </p:cNvSpPr>
          <p:nvPr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143 w 290"/>
              <a:gd name="T11" fmla="*/ 313 h 375"/>
              <a:gd name="T12" fmla="*/ 222 w 290"/>
              <a:gd name="T13" fmla="*/ 273 h 375"/>
              <a:gd name="T14" fmla="*/ 18 w 290"/>
              <a:gd name="T15" fmla="*/ 95 h 375"/>
              <a:gd name="T16" fmla="*/ 3 w 290"/>
              <a:gd name="T17" fmla="*/ 83 h 375"/>
              <a:gd name="T18" fmla="*/ 3 w 290"/>
              <a:gd name="T19" fmla="*/ 83 h 375"/>
              <a:gd name="T20" fmla="*/ 0 w 290"/>
              <a:gd name="T21" fmla="*/ 80 h 375"/>
              <a:gd name="T22" fmla="*/ 4 w 290"/>
              <a:gd name="T23" fmla="*/ 21 h 375"/>
              <a:gd name="T24" fmla="*/ 139 w 290"/>
              <a:gd name="T25" fmla="*/ 0 h 375"/>
              <a:gd name="T26" fmla="*/ 147 w 290"/>
              <a:gd name="T27" fmla="*/ 0 h 375"/>
              <a:gd name="T28" fmla="*/ 215 w 290"/>
              <a:gd name="T29" fmla="*/ 11 h 375"/>
              <a:gd name="T30" fmla="*/ 230 w 290"/>
              <a:gd name="T31" fmla="*/ 13 h 375"/>
              <a:gd name="T32" fmla="*/ 267 w 290"/>
              <a:gd name="T33" fmla="*/ 19 h 375"/>
              <a:gd name="T34" fmla="*/ 290 w 290"/>
              <a:gd name="T35" fmla="*/ 46 h 375"/>
              <a:gd name="T36" fmla="*/ 290 w 290"/>
              <a:gd name="T37" fmla="*/ 118 h 375"/>
              <a:gd name="T38" fmla="*/ 230 w 290"/>
              <a:gd name="T39" fmla="*/ 144 h 375"/>
              <a:gd name="T40" fmla="*/ 230 w 290"/>
              <a:gd name="T41" fmla="*/ 74 h 375"/>
              <a:gd name="T42" fmla="*/ 143 w 290"/>
              <a:gd name="T43" fmla="*/ 61 h 375"/>
              <a:gd name="T44" fmla="*/ 81 w 290"/>
              <a:gd name="T45" fmla="*/ 71 h 375"/>
              <a:gd name="T46" fmla="*/ 96 w 290"/>
              <a:gd name="T47" fmla="*/ 83 h 375"/>
              <a:gd name="T48" fmla="*/ 96 w 290"/>
              <a:gd name="T49" fmla="*/ 83 h 375"/>
              <a:gd name="T50" fmla="*/ 283 w 290"/>
              <a:gd name="T51" fmla="*/ 247 h 375"/>
              <a:gd name="T52" fmla="*/ 283 w 290"/>
              <a:gd name="T53" fmla="*/ 247 h 375"/>
              <a:gd name="T54" fmla="*/ 288 w 290"/>
              <a:gd name="T55" fmla="*/ 250 h 375"/>
              <a:gd name="T56" fmla="*/ 283 w 290"/>
              <a:gd name="T57" fmla="*/ 309 h 375"/>
              <a:gd name="T58" fmla="*/ 270 w 290"/>
              <a:gd name="T59" fmla="*/ 316 h 375"/>
              <a:gd name="T60" fmla="*/ 258 w 290"/>
              <a:gd name="T61" fmla="*/ 322 h 375"/>
              <a:gd name="T62" fmla="*/ 156 w 290"/>
              <a:gd name="T63" fmla="*/ 375 h 375"/>
              <a:gd name="T64" fmla="*/ 131 w 290"/>
              <a:gd name="T65" fmla="*/ 375 h 375"/>
              <a:gd name="T66" fmla="*/ 31 w 290"/>
              <a:gd name="T67" fmla="*/ 323 h 375"/>
              <a:gd name="T68" fmla="*/ 31 w 290"/>
              <a:gd name="T69" fmla="*/ 323 h 375"/>
              <a:gd name="T70" fmla="*/ 18 w 290"/>
              <a:gd name="T71" fmla="*/ 316 h 375"/>
              <a:gd name="T72" fmla="*/ 16 w 290"/>
              <a:gd name="T73" fmla="*/ 316 h 375"/>
              <a:gd name="T74" fmla="*/ 4 w 290"/>
              <a:gd name="T75" fmla="*/ 309 h 375"/>
              <a:gd name="T76" fmla="*/ 0 w 290"/>
              <a:gd name="T77" fmla="*/ 250 h 375"/>
              <a:gd name="T78" fmla="*/ 86 w 290"/>
              <a:gd name="T79" fmla="*/ 175 h 375"/>
              <a:gd name="T80" fmla="*/ 132 w 290"/>
              <a:gd name="T81" fmla="*/ 215 h 375"/>
              <a:gd name="T82" fmla="*/ 65 w 290"/>
              <a:gd name="T83" fmla="*/ 273 h 375"/>
              <a:gd name="T84" fmla="*/ 143 w 290"/>
              <a:gd name="T85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moveTo>
                  <a:pt x="256" y="323"/>
                </a:moveTo>
                <a:lnTo>
                  <a:pt x="258" y="322"/>
                </a:lnTo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Freeform 45">
            <a:extLst>
              <a:ext uri="{FF2B5EF4-FFF2-40B4-BE49-F238E27FC236}">
                <a16:creationId xmlns:a16="http://schemas.microsoft.com/office/drawing/2014/main" id="{B5261605-C785-4FC0-A7B0-EA4964B75F38}"/>
              </a:ext>
            </a:extLst>
          </p:cNvPr>
          <p:cNvSpPr>
            <a:spLocks noEditPoints="1"/>
          </p:cNvSpPr>
          <p:nvPr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143 w 290"/>
              <a:gd name="T11" fmla="*/ 313 h 375"/>
              <a:gd name="T12" fmla="*/ 222 w 290"/>
              <a:gd name="T13" fmla="*/ 273 h 375"/>
              <a:gd name="T14" fmla="*/ 18 w 290"/>
              <a:gd name="T15" fmla="*/ 95 h 375"/>
              <a:gd name="T16" fmla="*/ 3 w 290"/>
              <a:gd name="T17" fmla="*/ 83 h 375"/>
              <a:gd name="T18" fmla="*/ 3 w 290"/>
              <a:gd name="T19" fmla="*/ 83 h 375"/>
              <a:gd name="T20" fmla="*/ 0 w 290"/>
              <a:gd name="T21" fmla="*/ 80 h 375"/>
              <a:gd name="T22" fmla="*/ 4 w 290"/>
              <a:gd name="T23" fmla="*/ 21 h 375"/>
              <a:gd name="T24" fmla="*/ 139 w 290"/>
              <a:gd name="T25" fmla="*/ 0 h 375"/>
              <a:gd name="T26" fmla="*/ 147 w 290"/>
              <a:gd name="T27" fmla="*/ 0 h 375"/>
              <a:gd name="T28" fmla="*/ 215 w 290"/>
              <a:gd name="T29" fmla="*/ 11 h 375"/>
              <a:gd name="T30" fmla="*/ 230 w 290"/>
              <a:gd name="T31" fmla="*/ 13 h 375"/>
              <a:gd name="T32" fmla="*/ 267 w 290"/>
              <a:gd name="T33" fmla="*/ 19 h 375"/>
              <a:gd name="T34" fmla="*/ 290 w 290"/>
              <a:gd name="T35" fmla="*/ 46 h 375"/>
              <a:gd name="T36" fmla="*/ 290 w 290"/>
              <a:gd name="T37" fmla="*/ 118 h 375"/>
              <a:gd name="T38" fmla="*/ 230 w 290"/>
              <a:gd name="T39" fmla="*/ 144 h 375"/>
              <a:gd name="T40" fmla="*/ 230 w 290"/>
              <a:gd name="T41" fmla="*/ 74 h 375"/>
              <a:gd name="T42" fmla="*/ 143 w 290"/>
              <a:gd name="T43" fmla="*/ 61 h 375"/>
              <a:gd name="T44" fmla="*/ 81 w 290"/>
              <a:gd name="T45" fmla="*/ 71 h 375"/>
              <a:gd name="T46" fmla="*/ 96 w 290"/>
              <a:gd name="T47" fmla="*/ 83 h 375"/>
              <a:gd name="T48" fmla="*/ 96 w 290"/>
              <a:gd name="T49" fmla="*/ 83 h 375"/>
              <a:gd name="T50" fmla="*/ 283 w 290"/>
              <a:gd name="T51" fmla="*/ 247 h 375"/>
              <a:gd name="T52" fmla="*/ 283 w 290"/>
              <a:gd name="T53" fmla="*/ 247 h 375"/>
              <a:gd name="T54" fmla="*/ 288 w 290"/>
              <a:gd name="T55" fmla="*/ 250 h 375"/>
              <a:gd name="T56" fmla="*/ 283 w 290"/>
              <a:gd name="T57" fmla="*/ 309 h 375"/>
              <a:gd name="T58" fmla="*/ 270 w 290"/>
              <a:gd name="T59" fmla="*/ 316 h 375"/>
              <a:gd name="T60" fmla="*/ 258 w 290"/>
              <a:gd name="T61" fmla="*/ 322 h 375"/>
              <a:gd name="T62" fmla="*/ 156 w 290"/>
              <a:gd name="T63" fmla="*/ 375 h 375"/>
              <a:gd name="T64" fmla="*/ 131 w 290"/>
              <a:gd name="T65" fmla="*/ 375 h 375"/>
              <a:gd name="T66" fmla="*/ 31 w 290"/>
              <a:gd name="T67" fmla="*/ 323 h 375"/>
              <a:gd name="T68" fmla="*/ 31 w 290"/>
              <a:gd name="T69" fmla="*/ 323 h 375"/>
              <a:gd name="T70" fmla="*/ 18 w 290"/>
              <a:gd name="T71" fmla="*/ 316 h 375"/>
              <a:gd name="T72" fmla="*/ 16 w 290"/>
              <a:gd name="T73" fmla="*/ 316 h 375"/>
              <a:gd name="T74" fmla="*/ 4 w 290"/>
              <a:gd name="T75" fmla="*/ 309 h 375"/>
              <a:gd name="T76" fmla="*/ 0 w 290"/>
              <a:gd name="T77" fmla="*/ 250 h 375"/>
              <a:gd name="T78" fmla="*/ 86 w 290"/>
              <a:gd name="T79" fmla="*/ 175 h 375"/>
              <a:gd name="T80" fmla="*/ 132 w 290"/>
              <a:gd name="T81" fmla="*/ 215 h 375"/>
              <a:gd name="T82" fmla="*/ 65 w 290"/>
              <a:gd name="T83" fmla="*/ 273 h 375"/>
              <a:gd name="T84" fmla="*/ 143 w 290"/>
              <a:gd name="T85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moveTo>
                  <a:pt x="256" y="323"/>
                </a:moveTo>
                <a:lnTo>
                  <a:pt x="258" y="322"/>
                </a:lnTo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Freeform 45">
            <a:extLst>
              <a:ext uri="{FF2B5EF4-FFF2-40B4-BE49-F238E27FC236}">
                <a16:creationId xmlns:a16="http://schemas.microsoft.com/office/drawing/2014/main" id="{EED6F321-78E0-48CC-A48B-DE3B4E6F73F1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143 w 290"/>
              <a:gd name="T11" fmla="*/ 313 h 375"/>
              <a:gd name="T12" fmla="*/ 222 w 290"/>
              <a:gd name="T13" fmla="*/ 273 h 375"/>
              <a:gd name="T14" fmla="*/ 18 w 290"/>
              <a:gd name="T15" fmla="*/ 95 h 375"/>
              <a:gd name="T16" fmla="*/ 3 w 290"/>
              <a:gd name="T17" fmla="*/ 83 h 375"/>
              <a:gd name="T18" fmla="*/ 3 w 290"/>
              <a:gd name="T19" fmla="*/ 83 h 375"/>
              <a:gd name="T20" fmla="*/ 0 w 290"/>
              <a:gd name="T21" fmla="*/ 80 h 375"/>
              <a:gd name="T22" fmla="*/ 4 w 290"/>
              <a:gd name="T23" fmla="*/ 21 h 375"/>
              <a:gd name="T24" fmla="*/ 139 w 290"/>
              <a:gd name="T25" fmla="*/ 0 h 375"/>
              <a:gd name="T26" fmla="*/ 147 w 290"/>
              <a:gd name="T27" fmla="*/ 0 h 375"/>
              <a:gd name="T28" fmla="*/ 215 w 290"/>
              <a:gd name="T29" fmla="*/ 11 h 375"/>
              <a:gd name="T30" fmla="*/ 230 w 290"/>
              <a:gd name="T31" fmla="*/ 13 h 375"/>
              <a:gd name="T32" fmla="*/ 267 w 290"/>
              <a:gd name="T33" fmla="*/ 19 h 375"/>
              <a:gd name="T34" fmla="*/ 290 w 290"/>
              <a:gd name="T35" fmla="*/ 46 h 375"/>
              <a:gd name="T36" fmla="*/ 290 w 290"/>
              <a:gd name="T37" fmla="*/ 118 h 375"/>
              <a:gd name="T38" fmla="*/ 230 w 290"/>
              <a:gd name="T39" fmla="*/ 144 h 375"/>
              <a:gd name="T40" fmla="*/ 230 w 290"/>
              <a:gd name="T41" fmla="*/ 74 h 375"/>
              <a:gd name="T42" fmla="*/ 143 w 290"/>
              <a:gd name="T43" fmla="*/ 61 h 375"/>
              <a:gd name="T44" fmla="*/ 81 w 290"/>
              <a:gd name="T45" fmla="*/ 71 h 375"/>
              <a:gd name="T46" fmla="*/ 96 w 290"/>
              <a:gd name="T47" fmla="*/ 83 h 375"/>
              <a:gd name="T48" fmla="*/ 96 w 290"/>
              <a:gd name="T49" fmla="*/ 83 h 375"/>
              <a:gd name="T50" fmla="*/ 283 w 290"/>
              <a:gd name="T51" fmla="*/ 247 h 375"/>
              <a:gd name="T52" fmla="*/ 283 w 290"/>
              <a:gd name="T53" fmla="*/ 247 h 375"/>
              <a:gd name="T54" fmla="*/ 288 w 290"/>
              <a:gd name="T55" fmla="*/ 250 h 375"/>
              <a:gd name="T56" fmla="*/ 283 w 290"/>
              <a:gd name="T57" fmla="*/ 309 h 375"/>
              <a:gd name="T58" fmla="*/ 270 w 290"/>
              <a:gd name="T59" fmla="*/ 316 h 375"/>
              <a:gd name="T60" fmla="*/ 258 w 290"/>
              <a:gd name="T61" fmla="*/ 322 h 375"/>
              <a:gd name="T62" fmla="*/ 156 w 290"/>
              <a:gd name="T63" fmla="*/ 375 h 375"/>
              <a:gd name="T64" fmla="*/ 131 w 290"/>
              <a:gd name="T65" fmla="*/ 375 h 375"/>
              <a:gd name="T66" fmla="*/ 31 w 290"/>
              <a:gd name="T67" fmla="*/ 323 h 375"/>
              <a:gd name="T68" fmla="*/ 31 w 290"/>
              <a:gd name="T69" fmla="*/ 323 h 375"/>
              <a:gd name="T70" fmla="*/ 18 w 290"/>
              <a:gd name="T71" fmla="*/ 316 h 375"/>
              <a:gd name="T72" fmla="*/ 16 w 290"/>
              <a:gd name="T73" fmla="*/ 316 h 375"/>
              <a:gd name="T74" fmla="*/ 4 w 290"/>
              <a:gd name="T75" fmla="*/ 309 h 375"/>
              <a:gd name="T76" fmla="*/ 0 w 290"/>
              <a:gd name="T77" fmla="*/ 250 h 375"/>
              <a:gd name="T78" fmla="*/ 86 w 290"/>
              <a:gd name="T79" fmla="*/ 175 h 375"/>
              <a:gd name="T80" fmla="*/ 132 w 290"/>
              <a:gd name="T81" fmla="*/ 215 h 375"/>
              <a:gd name="T82" fmla="*/ 65 w 290"/>
              <a:gd name="T83" fmla="*/ 273 h 375"/>
              <a:gd name="T84" fmla="*/ 143 w 290"/>
              <a:gd name="T85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moveTo>
                  <a:pt x="256" y="323"/>
                </a:moveTo>
                <a:lnTo>
                  <a:pt x="258" y="322"/>
                </a:lnTo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466098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Slide 3">
    <p:bg>
      <p:bgPr>
        <a:gradFill>
          <a:gsLst>
            <a:gs pos="5000">
              <a:srgbClr val="FD7627"/>
            </a:gs>
            <a:gs pos="100000">
              <a:srgbClr val="FEA060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2913" y="4559300"/>
            <a:ext cx="4814887" cy="481467"/>
          </a:xfrm>
        </p:spPr>
        <p:txBody>
          <a:bodyPr anchor="b">
            <a:noAutofit/>
          </a:bodyPr>
          <a:lstStyle>
            <a:lvl1pPr algn="l"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10"/>
          </p:nvPr>
        </p:nvSpPr>
        <p:spPr>
          <a:xfrm>
            <a:off x="442913" y="5063331"/>
            <a:ext cx="4814887" cy="998538"/>
          </a:xfrm>
        </p:spPr>
        <p:txBody>
          <a:bodyPr>
            <a:noAutofit/>
          </a:bodyPr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8" name="Freeform 44">
            <a:extLst>
              <a:ext uri="{FF2B5EF4-FFF2-40B4-BE49-F238E27FC236}">
                <a16:creationId xmlns:a16="http://schemas.microsoft.com/office/drawing/2014/main" id="{69196B9C-0D13-41C0-B8B0-CDC040CD2C61}"/>
              </a:ext>
            </a:extLst>
          </p:cNvPr>
          <p:cNvSpPr>
            <a:spLocks noEditPoints="1"/>
          </p:cNvSpPr>
          <p:nvPr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256 w 290"/>
              <a:gd name="T11" fmla="*/ 323 h 375"/>
              <a:gd name="T12" fmla="*/ 143 w 290"/>
              <a:gd name="T13" fmla="*/ 313 h 375"/>
              <a:gd name="T14" fmla="*/ 222 w 290"/>
              <a:gd name="T15" fmla="*/ 273 h 375"/>
              <a:gd name="T16" fmla="*/ 18 w 290"/>
              <a:gd name="T17" fmla="*/ 95 h 375"/>
              <a:gd name="T18" fmla="*/ 3 w 290"/>
              <a:gd name="T19" fmla="*/ 83 h 375"/>
              <a:gd name="T20" fmla="*/ 3 w 290"/>
              <a:gd name="T21" fmla="*/ 83 h 375"/>
              <a:gd name="T22" fmla="*/ 0 w 290"/>
              <a:gd name="T23" fmla="*/ 80 h 375"/>
              <a:gd name="T24" fmla="*/ 4 w 290"/>
              <a:gd name="T25" fmla="*/ 21 h 375"/>
              <a:gd name="T26" fmla="*/ 139 w 290"/>
              <a:gd name="T27" fmla="*/ 0 h 375"/>
              <a:gd name="T28" fmla="*/ 147 w 290"/>
              <a:gd name="T29" fmla="*/ 0 h 375"/>
              <a:gd name="T30" fmla="*/ 215 w 290"/>
              <a:gd name="T31" fmla="*/ 11 h 375"/>
              <a:gd name="T32" fmla="*/ 230 w 290"/>
              <a:gd name="T33" fmla="*/ 13 h 375"/>
              <a:gd name="T34" fmla="*/ 267 w 290"/>
              <a:gd name="T35" fmla="*/ 19 h 375"/>
              <a:gd name="T36" fmla="*/ 290 w 290"/>
              <a:gd name="T37" fmla="*/ 46 h 375"/>
              <a:gd name="T38" fmla="*/ 290 w 290"/>
              <a:gd name="T39" fmla="*/ 118 h 375"/>
              <a:gd name="T40" fmla="*/ 230 w 290"/>
              <a:gd name="T41" fmla="*/ 144 h 375"/>
              <a:gd name="T42" fmla="*/ 230 w 290"/>
              <a:gd name="T43" fmla="*/ 74 h 375"/>
              <a:gd name="T44" fmla="*/ 143 w 290"/>
              <a:gd name="T45" fmla="*/ 61 h 375"/>
              <a:gd name="T46" fmla="*/ 81 w 290"/>
              <a:gd name="T47" fmla="*/ 71 h 375"/>
              <a:gd name="T48" fmla="*/ 96 w 290"/>
              <a:gd name="T49" fmla="*/ 83 h 375"/>
              <a:gd name="T50" fmla="*/ 96 w 290"/>
              <a:gd name="T51" fmla="*/ 83 h 375"/>
              <a:gd name="T52" fmla="*/ 283 w 290"/>
              <a:gd name="T53" fmla="*/ 247 h 375"/>
              <a:gd name="T54" fmla="*/ 283 w 290"/>
              <a:gd name="T55" fmla="*/ 247 h 375"/>
              <a:gd name="T56" fmla="*/ 288 w 290"/>
              <a:gd name="T57" fmla="*/ 250 h 375"/>
              <a:gd name="T58" fmla="*/ 283 w 290"/>
              <a:gd name="T59" fmla="*/ 309 h 375"/>
              <a:gd name="T60" fmla="*/ 270 w 290"/>
              <a:gd name="T61" fmla="*/ 316 h 375"/>
              <a:gd name="T62" fmla="*/ 258 w 290"/>
              <a:gd name="T63" fmla="*/ 322 h 375"/>
              <a:gd name="T64" fmla="*/ 156 w 290"/>
              <a:gd name="T65" fmla="*/ 375 h 375"/>
              <a:gd name="T66" fmla="*/ 131 w 290"/>
              <a:gd name="T67" fmla="*/ 375 h 375"/>
              <a:gd name="T68" fmla="*/ 31 w 290"/>
              <a:gd name="T69" fmla="*/ 323 h 375"/>
              <a:gd name="T70" fmla="*/ 31 w 290"/>
              <a:gd name="T71" fmla="*/ 323 h 375"/>
              <a:gd name="T72" fmla="*/ 18 w 290"/>
              <a:gd name="T73" fmla="*/ 316 h 375"/>
              <a:gd name="T74" fmla="*/ 16 w 290"/>
              <a:gd name="T75" fmla="*/ 316 h 375"/>
              <a:gd name="T76" fmla="*/ 4 w 290"/>
              <a:gd name="T77" fmla="*/ 309 h 375"/>
              <a:gd name="T78" fmla="*/ 0 w 290"/>
              <a:gd name="T79" fmla="*/ 250 h 375"/>
              <a:gd name="T80" fmla="*/ 86 w 290"/>
              <a:gd name="T81" fmla="*/ 175 h 375"/>
              <a:gd name="T82" fmla="*/ 132 w 290"/>
              <a:gd name="T83" fmla="*/ 215 h 375"/>
              <a:gd name="T84" fmla="*/ 65 w 290"/>
              <a:gd name="T85" fmla="*/ 273 h 375"/>
              <a:gd name="T86" fmla="*/ 143 w 290"/>
              <a:gd name="T87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close/>
                <a:moveTo>
                  <a:pt x="256" y="323"/>
                </a:moveTo>
                <a:lnTo>
                  <a:pt x="258" y="322"/>
                </a:lnTo>
                <a:lnTo>
                  <a:pt x="256" y="323"/>
                </a:lnTo>
                <a:close/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  <a:close/>
              </a:path>
            </a:pathLst>
          </a:custGeom>
          <a:solidFill>
            <a:srgbClr val="D44A05">
              <a:alpha val="15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9" name="Freeform 45">
            <a:extLst>
              <a:ext uri="{FF2B5EF4-FFF2-40B4-BE49-F238E27FC236}">
                <a16:creationId xmlns:a16="http://schemas.microsoft.com/office/drawing/2014/main" id="{FA26C795-A228-45BC-9FD6-9F4B38F5758E}"/>
              </a:ext>
            </a:extLst>
          </p:cNvPr>
          <p:cNvSpPr>
            <a:spLocks noEditPoints="1"/>
          </p:cNvSpPr>
          <p:nvPr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143 w 290"/>
              <a:gd name="T11" fmla="*/ 313 h 375"/>
              <a:gd name="T12" fmla="*/ 222 w 290"/>
              <a:gd name="T13" fmla="*/ 273 h 375"/>
              <a:gd name="T14" fmla="*/ 18 w 290"/>
              <a:gd name="T15" fmla="*/ 95 h 375"/>
              <a:gd name="T16" fmla="*/ 3 w 290"/>
              <a:gd name="T17" fmla="*/ 83 h 375"/>
              <a:gd name="T18" fmla="*/ 3 w 290"/>
              <a:gd name="T19" fmla="*/ 83 h 375"/>
              <a:gd name="T20" fmla="*/ 0 w 290"/>
              <a:gd name="T21" fmla="*/ 80 h 375"/>
              <a:gd name="T22" fmla="*/ 4 w 290"/>
              <a:gd name="T23" fmla="*/ 21 h 375"/>
              <a:gd name="T24" fmla="*/ 139 w 290"/>
              <a:gd name="T25" fmla="*/ 0 h 375"/>
              <a:gd name="T26" fmla="*/ 147 w 290"/>
              <a:gd name="T27" fmla="*/ 0 h 375"/>
              <a:gd name="T28" fmla="*/ 215 w 290"/>
              <a:gd name="T29" fmla="*/ 11 h 375"/>
              <a:gd name="T30" fmla="*/ 230 w 290"/>
              <a:gd name="T31" fmla="*/ 13 h 375"/>
              <a:gd name="T32" fmla="*/ 267 w 290"/>
              <a:gd name="T33" fmla="*/ 19 h 375"/>
              <a:gd name="T34" fmla="*/ 290 w 290"/>
              <a:gd name="T35" fmla="*/ 46 h 375"/>
              <a:gd name="T36" fmla="*/ 290 w 290"/>
              <a:gd name="T37" fmla="*/ 118 h 375"/>
              <a:gd name="T38" fmla="*/ 230 w 290"/>
              <a:gd name="T39" fmla="*/ 144 h 375"/>
              <a:gd name="T40" fmla="*/ 230 w 290"/>
              <a:gd name="T41" fmla="*/ 74 h 375"/>
              <a:gd name="T42" fmla="*/ 143 w 290"/>
              <a:gd name="T43" fmla="*/ 61 h 375"/>
              <a:gd name="T44" fmla="*/ 81 w 290"/>
              <a:gd name="T45" fmla="*/ 71 h 375"/>
              <a:gd name="T46" fmla="*/ 96 w 290"/>
              <a:gd name="T47" fmla="*/ 83 h 375"/>
              <a:gd name="T48" fmla="*/ 96 w 290"/>
              <a:gd name="T49" fmla="*/ 83 h 375"/>
              <a:gd name="T50" fmla="*/ 283 w 290"/>
              <a:gd name="T51" fmla="*/ 247 h 375"/>
              <a:gd name="T52" fmla="*/ 283 w 290"/>
              <a:gd name="T53" fmla="*/ 247 h 375"/>
              <a:gd name="T54" fmla="*/ 288 w 290"/>
              <a:gd name="T55" fmla="*/ 250 h 375"/>
              <a:gd name="T56" fmla="*/ 283 w 290"/>
              <a:gd name="T57" fmla="*/ 309 h 375"/>
              <a:gd name="T58" fmla="*/ 270 w 290"/>
              <a:gd name="T59" fmla="*/ 316 h 375"/>
              <a:gd name="T60" fmla="*/ 258 w 290"/>
              <a:gd name="T61" fmla="*/ 322 h 375"/>
              <a:gd name="T62" fmla="*/ 156 w 290"/>
              <a:gd name="T63" fmla="*/ 375 h 375"/>
              <a:gd name="T64" fmla="*/ 131 w 290"/>
              <a:gd name="T65" fmla="*/ 375 h 375"/>
              <a:gd name="T66" fmla="*/ 31 w 290"/>
              <a:gd name="T67" fmla="*/ 323 h 375"/>
              <a:gd name="T68" fmla="*/ 31 w 290"/>
              <a:gd name="T69" fmla="*/ 323 h 375"/>
              <a:gd name="T70" fmla="*/ 18 w 290"/>
              <a:gd name="T71" fmla="*/ 316 h 375"/>
              <a:gd name="T72" fmla="*/ 16 w 290"/>
              <a:gd name="T73" fmla="*/ 316 h 375"/>
              <a:gd name="T74" fmla="*/ 4 w 290"/>
              <a:gd name="T75" fmla="*/ 309 h 375"/>
              <a:gd name="T76" fmla="*/ 0 w 290"/>
              <a:gd name="T77" fmla="*/ 250 h 375"/>
              <a:gd name="T78" fmla="*/ 86 w 290"/>
              <a:gd name="T79" fmla="*/ 175 h 375"/>
              <a:gd name="T80" fmla="*/ 132 w 290"/>
              <a:gd name="T81" fmla="*/ 215 h 375"/>
              <a:gd name="T82" fmla="*/ 65 w 290"/>
              <a:gd name="T83" fmla="*/ 273 h 375"/>
              <a:gd name="T84" fmla="*/ 143 w 290"/>
              <a:gd name="T85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moveTo>
                  <a:pt x="256" y="323"/>
                </a:moveTo>
                <a:lnTo>
                  <a:pt x="258" y="322"/>
                </a:lnTo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Freeform 45">
            <a:extLst>
              <a:ext uri="{FF2B5EF4-FFF2-40B4-BE49-F238E27FC236}">
                <a16:creationId xmlns:a16="http://schemas.microsoft.com/office/drawing/2014/main" id="{6A835F36-E47E-47AC-B3CF-2ABAEE737E7D}"/>
              </a:ext>
            </a:extLst>
          </p:cNvPr>
          <p:cNvSpPr>
            <a:spLocks noEditPoints="1"/>
          </p:cNvSpPr>
          <p:nvPr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143 w 290"/>
              <a:gd name="T11" fmla="*/ 313 h 375"/>
              <a:gd name="T12" fmla="*/ 222 w 290"/>
              <a:gd name="T13" fmla="*/ 273 h 375"/>
              <a:gd name="T14" fmla="*/ 18 w 290"/>
              <a:gd name="T15" fmla="*/ 95 h 375"/>
              <a:gd name="T16" fmla="*/ 3 w 290"/>
              <a:gd name="T17" fmla="*/ 83 h 375"/>
              <a:gd name="T18" fmla="*/ 3 w 290"/>
              <a:gd name="T19" fmla="*/ 83 h 375"/>
              <a:gd name="T20" fmla="*/ 0 w 290"/>
              <a:gd name="T21" fmla="*/ 80 h 375"/>
              <a:gd name="T22" fmla="*/ 4 w 290"/>
              <a:gd name="T23" fmla="*/ 21 h 375"/>
              <a:gd name="T24" fmla="*/ 139 w 290"/>
              <a:gd name="T25" fmla="*/ 0 h 375"/>
              <a:gd name="T26" fmla="*/ 147 w 290"/>
              <a:gd name="T27" fmla="*/ 0 h 375"/>
              <a:gd name="T28" fmla="*/ 215 w 290"/>
              <a:gd name="T29" fmla="*/ 11 h 375"/>
              <a:gd name="T30" fmla="*/ 230 w 290"/>
              <a:gd name="T31" fmla="*/ 13 h 375"/>
              <a:gd name="T32" fmla="*/ 267 w 290"/>
              <a:gd name="T33" fmla="*/ 19 h 375"/>
              <a:gd name="T34" fmla="*/ 290 w 290"/>
              <a:gd name="T35" fmla="*/ 46 h 375"/>
              <a:gd name="T36" fmla="*/ 290 w 290"/>
              <a:gd name="T37" fmla="*/ 118 h 375"/>
              <a:gd name="T38" fmla="*/ 230 w 290"/>
              <a:gd name="T39" fmla="*/ 144 h 375"/>
              <a:gd name="T40" fmla="*/ 230 w 290"/>
              <a:gd name="T41" fmla="*/ 74 h 375"/>
              <a:gd name="T42" fmla="*/ 143 w 290"/>
              <a:gd name="T43" fmla="*/ 61 h 375"/>
              <a:gd name="T44" fmla="*/ 81 w 290"/>
              <a:gd name="T45" fmla="*/ 71 h 375"/>
              <a:gd name="T46" fmla="*/ 96 w 290"/>
              <a:gd name="T47" fmla="*/ 83 h 375"/>
              <a:gd name="T48" fmla="*/ 96 w 290"/>
              <a:gd name="T49" fmla="*/ 83 h 375"/>
              <a:gd name="T50" fmla="*/ 283 w 290"/>
              <a:gd name="T51" fmla="*/ 247 h 375"/>
              <a:gd name="T52" fmla="*/ 283 w 290"/>
              <a:gd name="T53" fmla="*/ 247 h 375"/>
              <a:gd name="T54" fmla="*/ 288 w 290"/>
              <a:gd name="T55" fmla="*/ 250 h 375"/>
              <a:gd name="T56" fmla="*/ 283 w 290"/>
              <a:gd name="T57" fmla="*/ 309 h 375"/>
              <a:gd name="T58" fmla="*/ 270 w 290"/>
              <a:gd name="T59" fmla="*/ 316 h 375"/>
              <a:gd name="T60" fmla="*/ 258 w 290"/>
              <a:gd name="T61" fmla="*/ 322 h 375"/>
              <a:gd name="T62" fmla="*/ 156 w 290"/>
              <a:gd name="T63" fmla="*/ 375 h 375"/>
              <a:gd name="T64" fmla="*/ 131 w 290"/>
              <a:gd name="T65" fmla="*/ 375 h 375"/>
              <a:gd name="T66" fmla="*/ 31 w 290"/>
              <a:gd name="T67" fmla="*/ 323 h 375"/>
              <a:gd name="T68" fmla="*/ 31 w 290"/>
              <a:gd name="T69" fmla="*/ 323 h 375"/>
              <a:gd name="T70" fmla="*/ 18 w 290"/>
              <a:gd name="T71" fmla="*/ 316 h 375"/>
              <a:gd name="T72" fmla="*/ 16 w 290"/>
              <a:gd name="T73" fmla="*/ 316 h 375"/>
              <a:gd name="T74" fmla="*/ 4 w 290"/>
              <a:gd name="T75" fmla="*/ 309 h 375"/>
              <a:gd name="T76" fmla="*/ 0 w 290"/>
              <a:gd name="T77" fmla="*/ 250 h 375"/>
              <a:gd name="T78" fmla="*/ 86 w 290"/>
              <a:gd name="T79" fmla="*/ 175 h 375"/>
              <a:gd name="T80" fmla="*/ 132 w 290"/>
              <a:gd name="T81" fmla="*/ 215 h 375"/>
              <a:gd name="T82" fmla="*/ 65 w 290"/>
              <a:gd name="T83" fmla="*/ 273 h 375"/>
              <a:gd name="T84" fmla="*/ 143 w 290"/>
              <a:gd name="T85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moveTo>
                  <a:pt x="256" y="323"/>
                </a:moveTo>
                <a:lnTo>
                  <a:pt x="258" y="322"/>
                </a:lnTo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Freeform 45">
            <a:extLst>
              <a:ext uri="{FF2B5EF4-FFF2-40B4-BE49-F238E27FC236}">
                <a16:creationId xmlns:a16="http://schemas.microsoft.com/office/drawing/2014/main" id="{F8CFF4A3-24D0-4B2E-9126-1FE636815A77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143 w 290"/>
              <a:gd name="T11" fmla="*/ 313 h 375"/>
              <a:gd name="T12" fmla="*/ 222 w 290"/>
              <a:gd name="T13" fmla="*/ 273 h 375"/>
              <a:gd name="T14" fmla="*/ 18 w 290"/>
              <a:gd name="T15" fmla="*/ 95 h 375"/>
              <a:gd name="T16" fmla="*/ 3 w 290"/>
              <a:gd name="T17" fmla="*/ 83 h 375"/>
              <a:gd name="T18" fmla="*/ 3 w 290"/>
              <a:gd name="T19" fmla="*/ 83 h 375"/>
              <a:gd name="T20" fmla="*/ 0 w 290"/>
              <a:gd name="T21" fmla="*/ 80 h 375"/>
              <a:gd name="T22" fmla="*/ 4 w 290"/>
              <a:gd name="T23" fmla="*/ 21 h 375"/>
              <a:gd name="T24" fmla="*/ 139 w 290"/>
              <a:gd name="T25" fmla="*/ 0 h 375"/>
              <a:gd name="T26" fmla="*/ 147 w 290"/>
              <a:gd name="T27" fmla="*/ 0 h 375"/>
              <a:gd name="T28" fmla="*/ 215 w 290"/>
              <a:gd name="T29" fmla="*/ 11 h 375"/>
              <a:gd name="T30" fmla="*/ 230 w 290"/>
              <a:gd name="T31" fmla="*/ 13 h 375"/>
              <a:gd name="T32" fmla="*/ 267 w 290"/>
              <a:gd name="T33" fmla="*/ 19 h 375"/>
              <a:gd name="T34" fmla="*/ 290 w 290"/>
              <a:gd name="T35" fmla="*/ 46 h 375"/>
              <a:gd name="T36" fmla="*/ 290 w 290"/>
              <a:gd name="T37" fmla="*/ 118 h 375"/>
              <a:gd name="T38" fmla="*/ 230 w 290"/>
              <a:gd name="T39" fmla="*/ 144 h 375"/>
              <a:gd name="T40" fmla="*/ 230 w 290"/>
              <a:gd name="T41" fmla="*/ 74 h 375"/>
              <a:gd name="T42" fmla="*/ 143 w 290"/>
              <a:gd name="T43" fmla="*/ 61 h 375"/>
              <a:gd name="T44" fmla="*/ 81 w 290"/>
              <a:gd name="T45" fmla="*/ 71 h 375"/>
              <a:gd name="T46" fmla="*/ 96 w 290"/>
              <a:gd name="T47" fmla="*/ 83 h 375"/>
              <a:gd name="T48" fmla="*/ 96 w 290"/>
              <a:gd name="T49" fmla="*/ 83 h 375"/>
              <a:gd name="T50" fmla="*/ 283 w 290"/>
              <a:gd name="T51" fmla="*/ 247 h 375"/>
              <a:gd name="T52" fmla="*/ 283 w 290"/>
              <a:gd name="T53" fmla="*/ 247 h 375"/>
              <a:gd name="T54" fmla="*/ 288 w 290"/>
              <a:gd name="T55" fmla="*/ 250 h 375"/>
              <a:gd name="T56" fmla="*/ 283 w 290"/>
              <a:gd name="T57" fmla="*/ 309 h 375"/>
              <a:gd name="T58" fmla="*/ 270 w 290"/>
              <a:gd name="T59" fmla="*/ 316 h 375"/>
              <a:gd name="T60" fmla="*/ 258 w 290"/>
              <a:gd name="T61" fmla="*/ 322 h 375"/>
              <a:gd name="T62" fmla="*/ 156 w 290"/>
              <a:gd name="T63" fmla="*/ 375 h 375"/>
              <a:gd name="T64" fmla="*/ 131 w 290"/>
              <a:gd name="T65" fmla="*/ 375 h 375"/>
              <a:gd name="T66" fmla="*/ 31 w 290"/>
              <a:gd name="T67" fmla="*/ 323 h 375"/>
              <a:gd name="T68" fmla="*/ 31 w 290"/>
              <a:gd name="T69" fmla="*/ 323 h 375"/>
              <a:gd name="T70" fmla="*/ 18 w 290"/>
              <a:gd name="T71" fmla="*/ 316 h 375"/>
              <a:gd name="T72" fmla="*/ 16 w 290"/>
              <a:gd name="T73" fmla="*/ 316 h 375"/>
              <a:gd name="T74" fmla="*/ 4 w 290"/>
              <a:gd name="T75" fmla="*/ 309 h 375"/>
              <a:gd name="T76" fmla="*/ 0 w 290"/>
              <a:gd name="T77" fmla="*/ 250 h 375"/>
              <a:gd name="T78" fmla="*/ 86 w 290"/>
              <a:gd name="T79" fmla="*/ 175 h 375"/>
              <a:gd name="T80" fmla="*/ 132 w 290"/>
              <a:gd name="T81" fmla="*/ 215 h 375"/>
              <a:gd name="T82" fmla="*/ 65 w 290"/>
              <a:gd name="T83" fmla="*/ 273 h 375"/>
              <a:gd name="T84" fmla="*/ 143 w 290"/>
              <a:gd name="T85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moveTo>
                  <a:pt x="256" y="323"/>
                </a:moveTo>
                <a:lnTo>
                  <a:pt x="258" y="322"/>
                </a:lnTo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610804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Slide 4">
    <p:bg>
      <p:bgPr>
        <a:gradFill>
          <a:gsLst>
            <a:gs pos="5000">
              <a:srgbClr val="1E7BE6"/>
            </a:gs>
            <a:gs pos="100000">
              <a:srgbClr val="74B7F3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2913" y="4559300"/>
            <a:ext cx="4814887" cy="481467"/>
          </a:xfrm>
        </p:spPr>
        <p:txBody>
          <a:bodyPr anchor="b">
            <a:noAutofit/>
          </a:bodyPr>
          <a:lstStyle>
            <a:lvl1pPr algn="l"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10"/>
          </p:nvPr>
        </p:nvSpPr>
        <p:spPr>
          <a:xfrm>
            <a:off x="442913" y="5063331"/>
            <a:ext cx="4814887" cy="998538"/>
          </a:xfrm>
        </p:spPr>
        <p:txBody>
          <a:bodyPr>
            <a:noAutofit/>
          </a:bodyPr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8" name="Freeform 44">
            <a:extLst>
              <a:ext uri="{FF2B5EF4-FFF2-40B4-BE49-F238E27FC236}">
                <a16:creationId xmlns:a16="http://schemas.microsoft.com/office/drawing/2014/main" id="{69196B9C-0D13-41C0-B8B0-CDC040CD2C61}"/>
              </a:ext>
            </a:extLst>
          </p:cNvPr>
          <p:cNvSpPr>
            <a:spLocks noEditPoints="1"/>
          </p:cNvSpPr>
          <p:nvPr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256 w 290"/>
              <a:gd name="T11" fmla="*/ 323 h 375"/>
              <a:gd name="T12" fmla="*/ 143 w 290"/>
              <a:gd name="T13" fmla="*/ 313 h 375"/>
              <a:gd name="T14" fmla="*/ 222 w 290"/>
              <a:gd name="T15" fmla="*/ 273 h 375"/>
              <a:gd name="T16" fmla="*/ 18 w 290"/>
              <a:gd name="T17" fmla="*/ 95 h 375"/>
              <a:gd name="T18" fmla="*/ 3 w 290"/>
              <a:gd name="T19" fmla="*/ 83 h 375"/>
              <a:gd name="T20" fmla="*/ 3 w 290"/>
              <a:gd name="T21" fmla="*/ 83 h 375"/>
              <a:gd name="T22" fmla="*/ 0 w 290"/>
              <a:gd name="T23" fmla="*/ 80 h 375"/>
              <a:gd name="T24" fmla="*/ 4 w 290"/>
              <a:gd name="T25" fmla="*/ 21 h 375"/>
              <a:gd name="T26" fmla="*/ 139 w 290"/>
              <a:gd name="T27" fmla="*/ 0 h 375"/>
              <a:gd name="T28" fmla="*/ 147 w 290"/>
              <a:gd name="T29" fmla="*/ 0 h 375"/>
              <a:gd name="T30" fmla="*/ 215 w 290"/>
              <a:gd name="T31" fmla="*/ 11 h 375"/>
              <a:gd name="T32" fmla="*/ 230 w 290"/>
              <a:gd name="T33" fmla="*/ 13 h 375"/>
              <a:gd name="T34" fmla="*/ 267 w 290"/>
              <a:gd name="T35" fmla="*/ 19 h 375"/>
              <a:gd name="T36" fmla="*/ 290 w 290"/>
              <a:gd name="T37" fmla="*/ 46 h 375"/>
              <a:gd name="T38" fmla="*/ 290 w 290"/>
              <a:gd name="T39" fmla="*/ 118 h 375"/>
              <a:gd name="T40" fmla="*/ 230 w 290"/>
              <a:gd name="T41" fmla="*/ 144 h 375"/>
              <a:gd name="T42" fmla="*/ 230 w 290"/>
              <a:gd name="T43" fmla="*/ 74 h 375"/>
              <a:gd name="T44" fmla="*/ 143 w 290"/>
              <a:gd name="T45" fmla="*/ 61 h 375"/>
              <a:gd name="T46" fmla="*/ 81 w 290"/>
              <a:gd name="T47" fmla="*/ 71 h 375"/>
              <a:gd name="T48" fmla="*/ 96 w 290"/>
              <a:gd name="T49" fmla="*/ 83 h 375"/>
              <a:gd name="T50" fmla="*/ 96 w 290"/>
              <a:gd name="T51" fmla="*/ 83 h 375"/>
              <a:gd name="T52" fmla="*/ 283 w 290"/>
              <a:gd name="T53" fmla="*/ 247 h 375"/>
              <a:gd name="T54" fmla="*/ 283 w 290"/>
              <a:gd name="T55" fmla="*/ 247 h 375"/>
              <a:gd name="T56" fmla="*/ 288 w 290"/>
              <a:gd name="T57" fmla="*/ 250 h 375"/>
              <a:gd name="T58" fmla="*/ 283 w 290"/>
              <a:gd name="T59" fmla="*/ 309 h 375"/>
              <a:gd name="T60" fmla="*/ 270 w 290"/>
              <a:gd name="T61" fmla="*/ 316 h 375"/>
              <a:gd name="T62" fmla="*/ 258 w 290"/>
              <a:gd name="T63" fmla="*/ 322 h 375"/>
              <a:gd name="T64" fmla="*/ 156 w 290"/>
              <a:gd name="T65" fmla="*/ 375 h 375"/>
              <a:gd name="T66" fmla="*/ 131 w 290"/>
              <a:gd name="T67" fmla="*/ 375 h 375"/>
              <a:gd name="T68" fmla="*/ 31 w 290"/>
              <a:gd name="T69" fmla="*/ 323 h 375"/>
              <a:gd name="T70" fmla="*/ 31 w 290"/>
              <a:gd name="T71" fmla="*/ 323 h 375"/>
              <a:gd name="T72" fmla="*/ 18 w 290"/>
              <a:gd name="T73" fmla="*/ 316 h 375"/>
              <a:gd name="T74" fmla="*/ 16 w 290"/>
              <a:gd name="T75" fmla="*/ 316 h 375"/>
              <a:gd name="T76" fmla="*/ 4 w 290"/>
              <a:gd name="T77" fmla="*/ 309 h 375"/>
              <a:gd name="T78" fmla="*/ 0 w 290"/>
              <a:gd name="T79" fmla="*/ 250 h 375"/>
              <a:gd name="T80" fmla="*/ 86 w 290"/>
              <a:gd name="T81" fmla="*/ 175 h 375"/>
              <a:gd name="T82" fmla="*/ 132 w 290"/>
              <a:gd name="T83" fmla="*/ 215 h 375"/>
              <a:gd name="T84" fmla="*/ 65 w 290"/>
              <a:gd name="T85" fmla="*/ 273 h 375"/>
              <a:gd name="T86" fmla="*/ 143 w 290"/>
              <a:gd name="T87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close/>
                <a:moveTo>
                  <a:pt x="256" y="323"/>
                </a:moveTo>
                <a:lnTo>
                  <a:pt x="258" y="322"/>
                </a:lnTo>
                <a:lnTo>
                  <a:pt x="256" y="323"/>
                </a:lnTo>
                <a:close/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  <a:close/>
              </a:path>
            </a:pathLst>
          </a:custGeom>
          <a:solidFill>
            <a:srgbClr val="13498E">
              <a:alpha val="15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9" name="Freeform 45">
            <a:extLst>
              <a:ext uri="{FF2B5EF4-FFF2-40B4-BE49-F238E27FC236}">
                <a16:creationId xmlns:a16="http://schemas.microsoft.com/office/drawing/2014/main" id="{FA26C795-A228-45BC-9FD6-9F4B38F5758E}"/>
              </a:ext>
            </a:extLst>
          </p:cNvPr>
          <p:cNvSpPr>
            <a:spLocks noEditPoints="1"/>
          </p:cNvSpPr>
          <p:nvPr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143 w 290"/>
              <a:gd name="T11" fmla="*/ 313 h 375"/>
              <a:gd name="T12" fmla="*/ 222 w 290"/>
              <a:gd name="T13" fmla="*/ 273 h 375"/>
              <a:gd name="T14" fmla="*/ 18 w 290"/>
              <a:gd name="T15" fmla="*/ 95 h 375"/>
              <a:gd name="T16" fmla="*/ 3 w 290"/>
              <a:gd name="T17" fmla="*/ 83 h 375"/>
              <a:gd name="T18" fmla="*/ 3 w 290"/>
              <a:gd name="T19" fmla="*/ 83 h 375"/>
              <a:gd name="T20" fmla="*/ 0 w 290"/>
              <a:gd name="T21" fmla="*/ 80 h 375"/>
              <a:gd name="T22" fmla="*/ 4 w 290"/>
              <a:gd name="T23" fmla="*/ 21 h 375"/>
              <a:gd name="T24" fmla="*/ 139 w 290"/>
              <a:gd name="T25" fmla="*/ 0 h 375"/>
              <a:gd name="T26" fmla="*/ 147 w 290"/>
              <a:gd name="T27" fmla="*/ 0 h 375"/>
              <a:gd name="T28" fmla="*/ 215 w 290"/>
              <a:gd name="T29" fmla="*/ 11 h 375"/>
              <a:gd name="T30" fmla="*/ 230 w 290"/>
              <a:gd name="T31" fmla="*/ 13 h 375"/>
              <a:gd name="T32" fmla="*/ 267 w 290"/>
              <a:gd name="T33" fmla="*/ 19 h 375"/>
              <a:gd name="T34" fmla="*/ 290 w 290"/>
              <a:gd name="T35" fmla="*/ 46 h 375"/>
              <a:gd name="T36" fmla="*/ 290 w 290"/>
              <a:gd name="T37" fmla="*/ 118 h 375"/>
              <a:gd name="T38" fmla="*/ 230 w 290"/>
              <a:gd name="T39" fmla="*/ 144 h 375"/>
              <a:gd name="T40" fmla="*/ 230 w 290"/>
              <a:gd name="T41" fmla="*/ 74 h 375"/>
              <a:gd name="T42" fmla="*/ 143 w 290"/>
              <a:gd name="T43" fmla="*/ 61 h 375"/>
              <a:gd name="T44" fmla="*/ 81 w 290"/>
              <a:gd name="T45" fmla="*/ 71 h 375"/>
              <a:gd name="T46" fmla="*/ 96 w 290"/>
              <a:gd name="T47" fmla="*/ 83 h 375"/>
              <a:gd name="T48" fmla="*/ 96 w 290"/>
              <a:gd name="T49" fmla="*/ 83 h 375"/>
              <a:gd name="T50" fmla="*/ 283 w 290"/>
              <a:gd name="T51" fmla="*/ 247 h 375"/>
              <a:gd name="T52" fmla="*/ 283 w 290"/>
              <a:gd name="T53" fmla="*/ 247 h 375"/>
              <a:gd name="T54" fmla="*/ 288 w 290"/>
              <a:gd name="T55" fmla="*/ 250 h 375"/>
              <a:gd name="T56" fmla="*/ 283 w 290"/>
              <a:gd name="T57" fmla="*/ 309 h 375"/>
              <a:gd name="T58" fmla="*/ 270 w 290"/>
              <a:gd name="T59" fmla="*/ 316 h 375"/>
              <a:gd name="T60" fmla="*/ 258 w 290"/>
              <a:gd name="T61" fmla="*/ 322 h 375"/>
              <a:gd name="T62" fmla="*/ 156 w 290"/>
              <a:gd name="T63" fmla="*/ 375 h 375"/>
              <a:gd name="T64" fmla="*/ 131 w 290"/>
              <a:gd name="T65" fmla="*/ 375 h 375"/>
              <a:gd name="T66" fmla="*/ 31 w 290"/>
              <a:gd name="T67" fmla="*/ 323 h 375"/>
              <a:gd name="T68" fmla="*/ 31 w 290"/>
              <a:gd name="T69" fmla="*/ 323 h 375"/>
              <a:gd name="T70" fmla="*/ 18 w 290"/>
              <a:gd name="T71" fmla="*/ 316 h 375"/>
              <a:gd name="T72" fmla="*/ 16 w 290"/>
              <a:gd name="T73" fmla="*/ 316 h 375"/>
              <a:gd name="T74" fmla="*/ 4 w 290"/>
              <a:gd name="T75" fmla="*/ 309 h 375"/>
              <a:gd name="T76" fmla="*/ 0 w 290"/>
              <a:gd name="T77" fmla="*/ 250 h 375"/>
              <a:gd name="T78" fmla="*/ 86 w 290"/>
              <a:gd name="T79" fmla="*/ 175 h 375"/>
              <a:gd name="T80" fmla="*/ 132 w 290"/>
              <a:gd name="T81" fmla="*/ 215 h 375"/>
              <a:gd name="T82" fmla="*/ 65 w 290"/>
              <a:gd name="T83" fmla="*/ 273 h 375"/>
              <a:gd name="T84" fmla="*/ 143 w 290"/>
              <a:gd name="T85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moveTo>
                  <a:pt x="256" y="323"/>
                </a:moveTo>
                <a:lnTo>
                  <a:pt x="258" y="322"/>
                </a:lnTo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Freeform 45">
            <a:extLst>
              <a:ext uri="{FF2B5EF4-FFF2-40B4-BE49-F238E27FC236}">
                <a16:creationId xmlns:a16="http://schemas.microsoft.com/office/drawing/2014/main" id="{D9C09283-4AC1-4799-B6D5-659D854FFBA7}"/>
              </a:ext>
            </a:extLst>
          </p:cNvPr>
          <p:cNvSpPr>
            <a:spLocks noEditPoints="1"/>
          </p:cNvSpPr>
          <p:nvPr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143 w 290"/>
              <a:gd name="T11" fmla="*/ 313 h 375"/>
              <a:gd name="T12" fmla="*/ 222 w 290"/>
              <a:gd name="T13" fmla="*/ 273 h 375"/>
              <a:gd name="T14" fmla="*/ 18 w 290"/>
              <a:gd name="T15" fmla="*/ 95 h 375"/>
              <a:gd name="T16" fmla="*/ 3 w 290"/>
              <a:gd name="T17" fmla="*/ 83 h 375"/>
              <a:gd name="T18" fmla="*/ 3 w 290"/>
              <a:gd name="T19" fmla="*/ 83 h 375"/>
              <a:gd name="T20" fmla="*/ 0 w 290"/>
              <a:gd name="T21" fmla="*/ 80 h 375"/>
              <a:gd name="T22" fmla="*/ 4 w 290"/>
              <a:gd name="T23" fmla="*/ 21 h 375"/>
              <a:gd name="T24" fmla="*/ 139 w 290"/>
              <a:gd name="T25" fmla="*/ 0 h 375"/>
              <a:gd name="T26" fmla="*/ 147 w 290"/>
              <a:gd name="T27" fmla="*/ 0 h 375"/>
              <a:gd name="T28" fmla="*/ 215 w 290"/>
              <a:gd name="T29" fmla="*/ 11 h 375"/>
              <a:gd name="T30" fmla="*/ 230 w 290"/>
              <a:gd name="T31" fmla="*/ 13 h 375"/>
              <a:gd name="T32" fmla="*/ 267 w 290"/>
              <a:gd name="T33" fmla="*/ 19 h 375"/>
              <a:gd name="T34" fmla="*/ 290 w 290"/>
              <a:gd name="T35" fmla="*/ 46 h 375"/>
              <a:gd name="T36" fmla="*/ 290 w 290"/>
              <a:gd name="T37" fmla="*/ 118 h 375"/>
              <a:gd name="T38" fmla="*/ 230 w 290"/>
              <a:gd name="T39" fmla="*/ 144 h 375"/>
              <a:gd name="T40" fmla="*/ 230 w 290"/>
              <a:gd name="T41" fmla="*/ 74 h 375"/>
              <a:gd name="T42" fmla="*/ 143 w 290"/>
              <a:gd name="T43" fmla="*/ 61 h 375"/>
              <a:gd name="T44" fmla="*/ 81 w 290"/>
              <a:gd name="T45" fmla="*/ 71 h 375"/>
              <a:gd name="T46" fmla="*/ 96 w 290"/>
              <a:gd name="T47" fmla="*/ 83 h 375"/>
              <a:gd name="T48" fmla="*/ 96 w 290"/>
              <a:gd name="T49" fmla="*/ 83 h 375"/>
              <a:gd name="T50" fmla="*/ 283 w 290"/>
              <a:gd name="T51" fmla="*/ 247 h 375"/>
              <a:gd name="T52" fmla="*/ 283 w 290"/>
              <a:gd name="T53" fmla="*/ 247 h 375"/>
              <a:gd name="T54" fmla="*/ 288 w 290"/>
              <a:gd name="T55" fmla="*/ 250 h 375"/>
              <a:gd name="T56" fmla="*/ 283 w 290"/>
              <a:gd name="T57" fmla="*/ 309 h 375"/>
              <a:gd name="T58" fmla="*/ 270 w 290"/>
              <a:gd name="T59" fmla="*/ 316 h 375"/>
              <a:gd name="T60" fmla="*/ 258 w 290"/>
              <a:gd name="T61" fmla="*/ 322 h 375"/>
              <a:gd name="T62" fmla="*/ 156 w 290"/>
              <a:gd name="T63" fmla="*/ 375 h 375"/>
              <a:gd name="T64" fmla="*/ 131 w 290"/>
              <a:gd name="T65" fmla="*/ 375 h 375"/>
              <a:gd name="T66" fmla="*/ 31 w 290"/>
              <a:gd name="T67" fmla="*/ 323 h 375"/>
              <a:gd name="T68" fmla="*/ 31 w 290"/>
              <a:gd name="T69" fmla="*/ 323 h 375"/>
              <a:gd name="T70" fmla="*/ 18 w 290"/>
              <a:gd name="T71" fmla="*/ 316 h 375"/>
              <a:gd name="T72" fmla="*/ 16 w 290"/>
              <a:gd name="T73" fmla="*/ 316 h 375"/>
              <a:gd name="T74" fmla="*/ 4 w 290"/>
              <a:gd name="T75" fmla="*/ 309 h 375"/>
              <a:gd name="T76" fmla="*/ 0 w 290"/>
              <a:gd name="T77" fmla="*/ 250 h 375"/>
              <a:gd name="T78" fmla="*/ 86 w 290"/>
              <a:gd name="T79" fmla="*/ 175 h 375"/>
              <a:gd name="T80" fmla="*/ 132 w 290"/>
              <a:gd name="T81" fmla="*/ 215 h 375"/>
              <a:gd name="T82" fmla="*/ 65 w 290"/>
              <a:gd name="T83" fmla="*/ 273 h 375"/>
              <a:gd name="T84" fmla="*/ 143 w 290"/>
              <a:gd name="T85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moveTo>
                  <a:pt x="256" y="323"/>
                </a:moveTo>
                <a:lnTo>
                  <a:pt x="258" y="322"/>
                </a:lnTo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Freeform 45">
            <a:extLst>
              <a:ext uri="{FF2B5EF4-FFF2-40B4-BE49-F238E27FC236}">
                <a16:creationId xmlns:a16="http://schemas.microsoft.com/office/drawing/2014/main" id="{B8E733FD-A66F-4B7C-9C65-2B4A613C6EE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143 w 290"/>
              <a:gd name="T11" fmla="*/ 313 h 375"/>
              <a:gd name="T12" fmla="*/ 222 w 290"/>
              <a:gd name="T13" fmla="*/ 273 h 375"/>
              <a:gd name="T14" fmla="*/ 18 w 290"/>
              <a:gd name="T15" fmla="*/ 95 h 375"/>
              <a:gd name="T16" fmla="*/ 3 w 290"/>
              <a:gd name="T17" fmla="*/ 83 h 375"/>
              <a:gd name="T18" fmla="*/ 3 w 290"/>
              <a:gd name="T19" fmla="*/ 83 h 375"/>
              <a:gd name="T20" fmla="*/ 0 w 290"/>
              <a:gd name="T21" fmla="*/ 80 h 375"/>
              <a:gd name="T22" fmla="*/ 4 w 290"/>
              <a:gd name="T23" fmla="*/ 21 h 375"/>
              <a:gd name="T24" fmla="*/ 139 w 290"/>
              <a:gd name="T25" fmla="*/ 0 h 375"/>
              <a:gd name="T26" fmla="*/ 147 w 290"/>
              <a:gd name="T27" fmla="*/ 0 h 375"/>
              <a:gd name="T28" fmla="*/ 215 w 290"/>
              <a:gd name="T29" fmla="*/ 11 h 375"/>
              <a:gd name="T30" fmla="*/ 230 w 290"/>
              <a:gd name="T31" fmla="*/ 13 h 375"/>
              <a:gd name="T32" fmla="*/ 267 w 290"/>
              <a:gd name="T33" fmla="*/ 19 h 375"/>
              <a:gd name="T34" fmla="*/ 290 w 290"/>
              <a:gd name="T35" fmla="*/ 46 h 375"/>
              <a:gd name="T36" fmla="*/ 290 w 290"/>
              <a:gd name="T37" fmla="*/ 118 h 375"/>
              <a:gd name="T38" fmla="*/ 230 w 290"/>
              <a:gd name="T39" fmla="*/ 144 h 375"/>
              <a:gd name="T40" fmla="*/ 230 w 290"/>
              <a:gd name="T41" fmla="*/ 74 h 375"/>
              <a:gd name="T42" fmla="*/ 143 w 290"/>
              <a:gd name="T43" fmla="*/ 61 h 375"/>
              <a:gd name="T44" fmla="*/ 81 w 290"/>
              <a:gd name="T45" fmla="*/ 71 h 375"/>
              <a:gd name="T46" fmla="*/ 96 w 290"/>
              <a:gd name="T47" fmla="*/ 83 h 375"/>
              <a:gd name="T48" fmla="*/ 96 w 290"/>
              <a:gd name="T49" fmla="*/ 83 h 375"/>
              <a:gd name="T50" fmla="*/ 283 w 290"/>
              <a:gd name="T51" fmla="*/ 247 h 375"/>
              <a:gd name="T52" fmla="*/ 283 w 290"/>
              <a:gd name="T53" fmla="*/ 247 h 375"/>
              <a:gd name="T54" fmla="*/ 288 w 290"/>
              <a:gd name="T55" fmla="*/ 250 h 375"/>
              <a:gd name="T56" fmla="*/ 283 w 290"/>
              <a:gd name="T57" fmla="*/ 309 h 375"/>
              <a:gd name="T58" fmla="*/ 270 w 290"/>
              <a:gd name="T59" fmla="*/ 316 h 375"/>
              <a:gd name="T60" fmla="*/ 258 w 290"/>
              <a:gd name="T61" fmla="*/ 322 h 375"/>
              <a:gd name="T62" fmla="*/ 156 w 290"/>
              <a:gd name="T63" fmla="*/ 375 h 375"/>
              <a:gd name="T64" fmla="*/ 131 w 290"/>
              <a:gd name="T65" fmla="*/ 375 h 375"/>
              <a:gd name="T66" fmla="*/ 31 w 290"/>
              <a:gd name="T67" fmla="*/ 323 h 375"/>
              <a:gd name="T68" fmla="*/ 31 w 290"/>
              <a:gd name="T69" fmla="*/ 323 h 375"/>
              <a:gd name="T70" fmla="*/ 18 w 290"/>
              <a:gd name="T71" fmla="*/ 316 h 375"/>
              <a:gd name="T72" fmla="*/ 16 w 290"/>
              <a:gd name="T73" fmla="*/ 316 h 375"/>
              <a:gd name="T74" fmla="*/ 4 w 290"/>
              <a:gd name="T75" fmla="*/ 309 h 375"/>
              <a:gd name="T76" fmla="*/ 0 w 290"/>
              <a:gd name="T77" fmla="*/ 250 h 375"/>
              <a:gd name="T78" fmla="*/ 86 w 290"/>
              <a:gd name="T79" fmla="*/ 175 h 375"/>
              <a:gd name="T80" fmla="*/ 132 w 290"/>
              <a:gd name="T81" fmla="*/ 215 h 375"/>
              <a:gd name="T82" fmla="*/ 65 w 290"/>
              <a:gd name="T83" fmla="*/ 273 h 375"/>
              <a:gd name="T84" fmla="*/ 143 w 290"/>
              <a:gd name="T85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moveTo>
                  <a:pt x="256" y="323"/>
                </a:moveTo>
                <a:lnTo>
                  <a:pt x="258" y="322"/>
                </a:lnTo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575149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Slide 5">
    <p:bg>
      <p:bgPr>
        <a:gradFill>
          <a:gsLst>
            <a:gs pos="5000">
              <a:srgbClr val="002BC4"/>
            </a:gs>
            <a:gs pos="100000">
              <a:srgbClr val="4B72FF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2913" y="4559300"/>
            <a:ext cx="4814887" cy="481467"/>
          </a:xfrm>
        </p:spPr>
        <p:txBody>
          <a:bodyPr anchor="b">
            <a:noAutofit/>
          </a:bodyPr>
          <a:lstStyle>
            <a:lvl1pPr algn="l"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10"/>
          </p:nvPr>
        </p:nvSpPr>
        <p:spPr>
          <a:xfrm>
            <a:off x="442913" y="5063331"/>
            <a:ext cx="4814887" cy="998538"/>
          </a:xfrm>
        </p:spPr>
        <p:txBody>
          <a:bodyPr>
            <a:noAutofit/>
          </a:bodyPr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8" name="Freeform 44">
            <a:extLst>
              <a:ext uri="{FF2B5EF4-FFF2-40B4-BE49-F238E27FC236}">
                <a16:creationId xmlns:a16="http://schemas.microsoft.com/office/drawing/2014/main" id="{69196B9C-0D13-41C0-B8B0-CDC040CD2C61}"/>
              </a:ext>
            </a:extLst>
          </p:cNvPr>
          <p:cNvSpPr>
            <a:spLocks noEditPoints="1"/>
          </p:cNvSpPr>
          <p:nvPr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256 w 290"/>
              <a:gd name="T11" fmla="*/ 323 h 375"/>
              <a:gd name="T12" fmla="*/ 143 w 290"/>
              <a:gd name="T13" fmla="*/ 313 h 375"/>
              <a:gd name="T14" fmla="*/ 222 w 290"/>
              <a:gd name="T15" fmla="*/ 273 h 375"/>
              <a:gd name="T16" fmla="*/ 18 w 290"/>
              <a:gd name="T17" fmla="*/ 95 h 375"/>
              <a:gd name="T18" fmla="*/ 3 w 290"/>
              <a:gd name="T19" fmla="*/ 83 h 375"/>
              <a:gd name="T20" fmla="*/ 3 w 290"/>
              <a:gd name="T21" fmla="*/ 83 h 375"/>
              <a:gd name="T22" fmla="*/ 0 w 290"/>
              <a:gd name="T23" fmla="*/ 80 h 375"/>
              <a:gd name="T24" fmla="*/ 4 w 290"/>
              <a:gd name="T25" fmla="*/ 21 h 375"/>
              <a:gd name="T26" fmla="*/ 139 w 290"/>
              <a:gd name="T27" fmla="*/ 0 h 375"/>
              <a:gd name="T28" fmla="*/ 147 w 290"/>
              <a:gd name="T29" fmla="*/ 0 h 375"/>
              <a:gd name="T30" fmla="*/ 215 w 290"/>
              <a:gd name="T31" fmla="*/ 11 h 375"/>
              <a:gd name="T32" fmla="*/ 230 w 290"/>
              <a:gd name="T33" fmla="*/ 13 h 375"/>
              <a:gd name="T34" fmla="*/ 267 w 290"/>
              <a:gd name="T35" fmla="*/ 19 h 375"/>
              <a:gd name="T36" fmla="*/ 290 w 290"/>
              <a:gd name="T37" fmla="*/ 46 h 375"/>
              <a:gd name="T38" fmla="*/ 290 w 290"/>
              <a:gd name="T39" fmla="*/ 118 h 375"/>
              <a:gd name="T40" fmla="*/ 230 w 290"/>
              <a:gd name="T41" fmla="*/ 144 h 375"/>
              <a:gd name="T42" fmla="*/ 230 w 290"/>
              <a:gd name="T43" fmla="*/ 74 h 375"/>
              <a:gd name="T44" fmla="*/ 143 w 290"/>
              <a:gd name="T45" fmla="*/ 61 h 375"/>
              <a:gd name="T46" fmla="*/ 81 w 290"/>
              <a:gd name="T47" fmla="*/ 71 h 375"/>
              <a:gd name="T48" fmla="*/ 96 w 290"/>
              <a:gd name="T49" fmla="*/ 83 h 375"/>
              <a:gd name="T50" fmla="*/ 96 w 290"/>
              <a:gd name="T51" fmla="*/ 83 h 375"/>
              <a:gd name="T52" fmla="*/ 283 w 290"/>
              <a:gd name="T53" fmla="*/ 247 h 375"/>
              <a:gd name="T54" fmla="*/ 283 w 290"/>
              <a:gd name="T55" fmla="*/ 247 h 375"/>
              <a:gd name="T56" fmla="*/ 288 w 290"/>
              <a:gd name="T57" fmla="*/ 250 h 375"/>
              <a:gd name="T58" fmla="*/ 283 w 290"/>
              <a:gd name="T59" fmla="*/ 309 h 375"/>
              <a:gd name="T60" fmla="*/ 270 w 290"/>
              <a:gd name="T61" fmla="*/ 316 h 375"/>
              <a:gd name="T62" fmla="*/ 258 w 290"/>
              <a:gd name="T63" fmla="*/ 322 h 375"/>
              <a:gd name="T64" fmla="*/ 156 w 290"/>
              <a:gd name="T65" fmla="*/ 375 h 375"/>
              <a:gd name="T66" fmla="*/ 131 w 290"/>
              <a:gd name="T67" fmla="*/ 375 h 375"/>
              <a:gd name="T68" fmla="*/ 31 w 290"/>
              <a:gd name="T69" fmla="*/ 323 h 375"/>
              <a:gd name="T70" fmla="*/ 31 w 290"/>
              <a:gd name="T71" fmla="*/ 323 h 375"/>
              <a:gd name="T72" fmla="*/ 18 w 290"/>
              <a:gd name="T73" fmla="*/ 316 h 375"/>
              <a:gd name="T74" fmla="*/ 16 w 290"/>
              <a:gd name="T75" fmla="*/ 316 h 375"/>
              <a:gd name="T76" fmla="*/ 4 w 290"/>
              <a:gd name="T77" fmla="*/ 309 h 375"/>
              <a:gd name="T78" fmla="*/ 0 w 290"/>
              <a:gd name="T79" fmla="*/ 250 h 375"/>
              <a:gd name="T80" fmla="*/ 86 w 290"/>
              <a:gd name="T81" fmla="*/ 175 h 375"/>
              <a:gd name="T82" fmla="*/ 132 w 290"/>
              <a:gd name="T83" fmla="*/ 215 h 375"/>
              <a:gd name="T84" fmla="*/ 65 w 290"/>
              <a:gd name="T85" fmla="*/ 273 h 375"/>
              <a:gd name="T86" fmla="*/ 143 w 290"/>
              <a:gd name="T87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close/>
                <a:moveTo>
                  <a:pt x="256" y="323"/>
                </a:moveTo>
                <a:lnTo>
                  <a:pt x="258" y="322"/>
                </a:lnTo>
                <a:lnTo>
                  <a:pt x="256" y="323"/>
                </a:lnTo>
                <a:close/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  <a:close/>
              </a:path>
            </a:pathLst>
          </a:custGeom>
          <a:solidFill>
            <a:srgbClr val="001F87">
              <a:alpha val="13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9" name="Freeform 45">
            <a:extLst>
              <a:ext uri="{FF2B5EF4-FFF2-40B4-BE49-F238E27FC236}">
                <a16:creationId xmlns:a16="http://schemas.microsoft.com/office/drawing/2014/main" id="{FA26C795-A228-45BC-9FD6-9F4B38F5758E}"/>
              </a:ext>
            </a:extLst>
          </p:cNvPr>
          <p:cNvSpPr>
            <a:spLocks noEditPoints="1"/>
          </p:cNvSpPr>
          <p:nvPr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143 w 290"/>
              <a:gd name="T11" fmla="*/ 313 h 375"/>
              <a:gd name="T12" fmla="*/ 222 w 290"/>
              <a:gd name="T13" fmla="*/ 273 h 375"/>
              <a:gd name="T14" fmla="*/ 18 w 290"/>
              <a:gd name="T15" fmla="*/ 95 h 375"/>
              <a:gd name="T16" fmla="*/ 3 w 290"/>
              <a:gd name="T17" fmla="*/ 83 h 375"/>
              <a:gd name="T18" fmla="*/ 3 w 290"/>
              <a:gd name="T19" fmla="*/ 83 h 375"/>
              <a:gd name="T20" fmla="*/ 0 w 290"/>
              <a:gd name="T21" fmla="*/ 80 h 375"/>
              <a:gd name="T22" fmla="*/ 4 w 290"/>
              <a:gd name="T23" fmla="*/ 21 h 375"/>
              <a:gd name="T24" fmla="*/ 139 w 290"/>
              <a:gd name="T25" fmla="*/ 0 h 375"/>
              <a:gd name="T26" fmla="*/ 147 w 290"/>
              <a:gd name="T27" fmla="*/ 0 h 375"/>
              <a:gd name="T28" fmla="*/ 215 w 290"/>
              <a:gd name="T29" fmla="*/ 11 h 375"/>
              <a:gd name="T30" fmla="*/ 230 w 290"/>
              <a:gd name="T31" fmla="*/ 13 h 375"/>
              <a:gd name="T32" fmla="*/ 267 w 290"/>
              <a:gd name="T33" fmla="*/ 19 h 375"/>
              <a:gd name="T34" fmla="*/ 290 w 290"/>
              <a:gd name="T35" fmla="*/ 46 h 375"/>
              <a:gd name="T36" fmla="*/ 290 w 290"/>
              <a:gd name="T37" fmla="*/ 118 h 375"/>
              <a:gd name="T38" fmla="*/ 230 w 290"/>
              <a:gd name="T39" fmla="*/ 144 h 375"/>
              <a:gd name="T40" fmla="*/ 230 w 290"/>
              <a:gd name="T41" fmla="*/ 74 h 375"/>
              <a:gd name="T42" fmla="*/ 143 w 290"/>
              <a:gd name="T43" fmla="*/ 61 h 375"/>
              <a:gd name="T44" fmla="*/ 81 w 290"/>
              <a:gd name="T45" fmla="*/ 71 h 375"/>
              <a:gd name="T46" fmla="*/ 96 w 290"/>
              <a:gd name="T47" fmla="*/ 83 h 375"/>
              <a:gd name="T48" fmla="*/ 96 w 290"/>
              <a:gd name="T49" fmla="*/ 83 h 375"/>
              <a:gd name="T50" fmla="*/ 283 w 290"/>
              <a:gd name="T51" fmla="*/ 247 h 375"/>
              <a:gd name="T52" fmla="*/ 283 w 290"/>
              <a:gd name="T53" fmla="*/ 247 h 375"/>
              <a:gd name="T54" fmla="*/ 288 w 290"/>
              <a:gd name="T55" fmla="*/ 250 h 375"/>
              <a:gd name="T56" fmla="*/ 283 w 290"/>
              <a:gd name="T57" fmla="*/ 309 h 375"/>
              <a:gd name="T58" fmla="*/ 270 w 290"/>
              <a:gd name="T59" fmla="*/ 316 h 375"/>
              <a:gd name="T60" fmla="*/ 258 w 290"/>
              <a:gd name="T61" fmla="*/ 322 h 375"/>
              <a:gd name="T62" fmla="*/ 156 w 290"/>
              <a:gd name="T63" fmla="*/ 375 h 375"/>
              <a:gd name="T64" fmla="*/ 131 w 290"/>
              <a:gd name="T65" fmla="*/ 375 h 375"/>
              <a:gd name="T66" fmla="*/ 31 w 290"/>
              <a:gd name="T67" fmla="*/ 323 h 375"/>
              <a:gd name="T68" fmla="*/ 31 w 290"/>
              <a:gd name="T69" fmla="*/ 323 h 375"/>
              <a:gd name="T70" fmla="*/ 18 w 290"/>
              <a:gd name="T71" fmla="*/ 316 h 375"/>
              <a:gd name="T72" fmla="*/ 16 w 290"/>
              <a:gd name="T73" fmla="*/ 316 h 375"/>
              <a:gd name="T74" fmla="*/ 4 w 290"/>
              <a:gd name="T75" fmla="*/ 309 h 375"/>
              <a:gd name="T76" fmla="*/ 0 w 290"/>
              <a:gd name="T77" fmla="*/ 250 h 375"/>
              <a:gd name="T78" fmla="*/ 86 w 290"/>
              <a:gd name="T79" fmla="*/ 175 h 375"/>
              <a:gd name="T80" fmla="*/ 132 w 290"/>
              <a:gd name="T81" fmla="*/ 215 h 375"/>
              <a:gd name="T82" fmla="*/ 65 w 290"/>
              <a:gd name="T83" fmla="*/ 273 h 375"/>
              <a:gd name="T84" fmla="*/ 143 w 290"/>
              <a:gd name="T85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moveTo>
                  <a:pt x="256" y="323"/>
                </a:moveTo>
                <a:lnTo>
                  <a:pt x="258" y="322"/>
                </a:lnTo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Freeform 45">
            <a:extLst>
              <a:ext uri="{FF2B5EF4-FFF2-40B4-BE49-F238E27FC236}">
                <a16:creationId xmlns:a16="http://schemas.microsoft.com/office/drawing/2014/main" id="{79325E2E-D578-4FA9-9710-062D2477457D}"/>
              </a:ext>
            </a:extLst>
          </p:cNvPr>
          <p:cNvSpPr>
            <a:spLocks noEditPoints="1"/>
          </p:cNvSpPr>
          <p:nvPr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143 w 290"/>
              <a:gd name="T11" fmla="*/ 313 h 375"/>
              <a:gd name="T12" fmla="*/ 222 w 290"/>
              <a:gd name="T13" fmla="*/ 273 h 375"/>
              <a:gd name="T14" fmla="*/ 18 w 290"/>
              <a:gd name="T15" fmla="*/ 95 h 375"/>
              <a:gd name="T16" fmla="*/ 3 w 290"/>
              <a:gd name="T17" fmla="*/ 83 h 375"/>
              <a:gd name="T18" fmla="*/ 3 w 290"/>
              <a:gd name="T19" fmla="*/ 83 h 375"/>
              <a:gd name="T20" fmla="*/ 0 w 290"/>
              <a:gd name="T21" fmla="*/ 80 h 375"/>
              <a:gd name="T22" fmla="*/ 4 w 290"/>
              <a:gd name="T23" fmla="*/ 21 h 375"/>
              <a:gd name="T24" fmla="*/ 139 w 290"/>
              <a:gd name="T25" fmla="*/ 0 h 375"/>
              <a:gd name="T26" fmla="*/ 147 w 290"/>
              <a:gd name="T27" fmla="*/ 0 h 375"/>
              <a:gd name="T28" fmla="*/ 215 w 290"/>
              <a:gd name="T29" fmla="*/ 11 h 375"/>
              <a:gd name="T30" fmla="*/ 230 w 290"/>
              <a:gd name="T31" fmla="*/ 13 h 375"/>
              <a:gd name="T32" fmla="*/ 267 w 290"/>
              <a:gd name="T33" fmla="*/ 19 h 375"/>
              <a:gd name="T34" fmla="*/ 290 w 290"/>
              <a:gd name="T35" fmla="*/ 46 h 375"/>
              <a:gd name="T36" fmla="*/ 290 w 290"/>
              <a:gd name="T37" fmla="*/ 118 h 375"/>
              <a:gd name="T38" fmla="*/ 230 w 290"/>
              <a:gd name="T39" fmla="*/ 144 h 375"/>
              <a:gd name="T40" fmla="*/ 230 w 290"/>
              <a:gd name="T41" fmla="*/ 74 h 375"/>
              <a:gd name="T42" fmla="*/ 143 w 290"/>
              <a:gd name="T43" fmla="*/ 61 h 375"/>
              <a:gd name="T44" fmla="*/ 81 w 290"/>
              <a:gd name="T45" fmla="*/ 71 h 375"/>
              <a:gd name="T46" fmla="*/ 96 w 290"/>
              <a:gd name="T47" fmla="*/ 83 h 375"/>
              <a:gd name="T48" fmla="*/ 96 w 290"/>
              <a:gd name="T49" fmla="*/ 83 h 375"/>
              <a:gd name="T50" fmla="*/ 283 w 290"/>
              <a:gd name="T51" fmla="*/ 247 h 375"/>
              <a:gd name="T52" fmla="*/ 283 w 290"/>
              <a:gd name="T53" fmla="*/ 247 h 375"/>
              <a:gd name="T54" fmla="*/ 288 w 290"/>
              <a:gd name="T55" fmla="*/ 250 h 375"/>
              <a:gd name="T56" fmla="*/ 283 w 290"/>
              <a:gd name="T57" fmla="*/ 309 h 375"/>
              <a:gd name="T58" fmla="*/ 270 w 290"/>
              <a:gd name="T59" fmla="*/ 316 h 375"/>
              <a:gd name="T60" fmla="*/ 258 w 290"/>
              <a:gd name="T61" fmla="*/ 322 h 375"/>
              <a:gd name="T62" fmla="*/ 156 w 290"/>
              <a:gd name="T63" fmla="*/ 375 h 375"/>
              <a:gd name="T64" fmla="*/ 131 w 290"/>
              <a:gd name="T65" fmla="*/ 375 h 375"/>
              <a:gd name="T66" fmla="*/ 31 w 290"/>
              <a:gd name="T67" fmla="*/ 323 h 375"/>
              <a:gd name="T68" fmla="*/ 31 w 290"/>
              <a:gd name="T69" fmla="*/ 323 h 375"/>
              <a:gd name="T70" fmla="*/ 18 w 290"/>
              <a:gd name="T71" fmla="*/ 316 h 375"/>
              <a:gd name="T72" fmla="*/ 16 w 290"/>
              <a:gd name="T73" fmla="*/ 316 h 375"/>
              <a:gd name="T74" fmla="*/ 4 w 290"/>
              <a:gd name="T75" fmla="*/ 309 h 375"/>
              <a:gd name="T76" fmla="*/ 0 w 290"/>
              <a:gd name="T77" fmla="*/ 250 h 375"/>
              <a:gd name="T78" fmla="*/ 86 w 290"/>
              <a:gd name="T79" fmla="*/ 175 h 375"/>
              <a:gd name="T80" fmla="*/ 132 w 290"/>
              <a:gd name="T81" fmla="*/ 215 h 375"/>
              <a:gd name="T82" fmla="*/ 65 w 290"/>
              <a:gd name="T83" fmla="*/ 273 h 375"/>
              <a:gd name="T84" fmla="*/ 143 w 290"/>
              <a:gd name="T85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moveTo>
                  <a:pt x="256" y="323"/>
                </a:moveTo>
                <a:lnTo>
                  <a:pt x="258" y="322"/>
                </a:lnTo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Freeform 45">
            <a:extLst>
              <a:ext uri="{FF2B5EF4-FFF2-40B4-BE49-F238E27FC236}">
                <a16:creationId xmlns:a16="http://schemas.microsoft.com/office/drawing/2014/main" id="{16B69240-4263-4F33-A32B-4208362FC4B0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143 w 290"/>
              <a:gd name="T11" fmla="*/ 313 h 375"/>
              <a:gd name="T12" fmla="*/ 222 w 290"/>
              <a:gd name="T13" fmla="*/ 273 h 375"/>
              <a:gd name="T14" fmla="*/ 18 w 290"/>
              <a:gd name="T15" fmla="*/ 95 h 375"/>
              <a:gd name="T16" fmla="*/ 3 w 290"/>
              <a:gd name="T17" fmla="*/ 83 h 375"/>
              <a:gd name="T18" fmla="*/ 3 w 290"/>
              <a:gd name="T19" fmla="*/ 83 h 375"/>
              <a:gd name="T20" fmla="*/ 0 w 290"/>
              <a:gd name="T21" fmla="*/ 80 h 375"/>
              <a:gd name="T22" fmla="*/ 4 w 290"/>
              <a:gd name="T23" fmla="*/ 21 h 375"/>
              <a:gd name="T24" fmla="*/ 139 w 290"/>
              <a:gd name="T25" fmla="*/ 0 h 375"/>
              <a:gd name="T26" fmla="*/ 147 w 290"/>
              <a:gd name="T27" fmla="*/ 0 h 375"/>
              <a:gd name="T28" fmla="*/ 215 w 290"/>
              <a:gd name="T29" fmla="*/ 11 h 375"/>
              <a:gd name="T30" fmla="*/ 230 w 290"/>
              <a:gd name="T31" fmla="*/ 13 h 375"/>
              <a:gd name="T32" fmla="*/ 267 w 290"/>
              <a:gd name="T33" fmla="*/ 19 h 375"/>
              <a:gd name="T34" fmla="*/ 290 w 290"/>
              <a:gd name="T35" fmla="*/ 46 h 375"/>
              <a:gd name="T36" fmla="*/ 290 w 290"/>
              <a:gd name="T37" fmla="*/ 118 h 375"/>
              <a:gd name="T38" fmla="*/ 230 w 290"/>
              <a:gd name="T39" fmla="*/ 144 h 375"/>
              <a:gd name="T40" fmla="*/ 230 w 290"/>
              <a:gd name="T41" fmla="*/ 74 h 375"/>
              <a:gd name="T42" fmla="*/ 143 w 290"/>
              <a:gd name="T43" fmla="*/ 61 h 375"/>
              <a:gd name="T44" fmla="*/ 81 w 290"/>
              <a:gd name="T45" fmla="*/ 71 h 375"/>
              <a:gd name="T46" fmla="*/ 96 w 290"/>
              <a:gd name="T47" fmla="*/ 83 h 375"/>
              <a:gd name="T48" fmla="*/ 96 w 290"/>
              <a:gd name="T49" fmla="*/ 83 h 375"/>
              <a:gd name="T50" fmla="*/ 283 w 290"/>
              <a:gd name="T51" fmla="*/ 247 h 375"/>
              <a:gd name="T52" fmla="*/ 283 w 290"/>
              <a:gd name="T53" fmla="*/ 247 h 375"/>
              <a:gd name="T54" fmla="*/ 288 w 290"/>
              <a:gd name="T55" fmla="*/ 250 h 375"/>
              <a:gd name="T56" fmla="*/ 283 w 290"/>
              <a:gd name="T57" fmla="*/ 309 h 375"/>
              <a:gd name="T58" fmla="*/ 270 w 290"/>
              <a:gd name="T59" fmla="*/ 316 h 375"/>
              <a:gd name="T60" fmla="*/ 258 w 290"/>
              <a:gd name="T61" fmla="*/ 322 h 375"/>
              <a:gd name="T62" fmla="*/ 156 w 290"/>
              <a:gd name="T63" fmla="*/ 375 h 375"/>
              <a:gd name="T64" fmla="*/ 131 w 290"/>
              <a:gd name="T65" fmla="*/ 375 h 375"/>
              <a:gd name="T66" fmla="*/ 31 w 290"/>
              <a:gd name="T67" fmla="*/ 323 h 375"/>
              <a:gd name="T68" fmla="*/ 31 w 290"/>
              <a:gd name="T69" fmla="*/ 323 h 375"/>
              <a:gd name="T70" fmla="*/ 18 w 290"/>
              <a:gd name="T71" fmla="*/ 316 h 375"/>
              <a:gd name="T72" fmla="*/ 16 w 290"/>
              <a:gd name="T73" fmla="*/ 316 h 375"/>
              <a:gd name="T74" fmla="*/ 4 w 290"/>
              <a:gd name="T75" fmla="*/ 309 h 375"/>
              <a:gd name="T76" fmla="*/ 0 w 290"/>
              <a:gd name="T77" fmla="*/ 250 h 375"/>
              <a:gd name="T78" fmla="*/ 86 w 290"/>
              <a:gd name="T79" fmla="*/ 175 h 375"/>
              <a:gd name="T80" fmla="*/ 132 w 290"/>
              <a:gd name="T81" fmla="*/ 215 h 375"/>
              <a:gd name="T82" fmla="*/ 65 w 290"/>
              <a:gd name="T83" fmla="*/ 273 h 375"/>
              <a:gd name="T84" fmla="*/ 143 w 290"/>
              <a:gd name="T85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moveTo>
                  <a:pt x="256" y="323"/>
                </a:moveTo>
                <a:lnTo>
                  <a:pt x="258" y="322"/>
                </a:lnTo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28978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1411539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Slide 6">
    <p:bg>
      <p:bgPr>
        <a:gradFill>
          <a:gsLst>
            <a:gs pos="5000">
              <a:srgbClr val="5A61A0"/>
            </a:gs>
            <a:gs pos="100000">
              <a:srgbClr val="9FA6CF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2913" y="4559300"/>
            <a:ext cx="4814887" cy="481467"/>
          </a:xfrm>
        </p:spPr>
        <p:txBody>
          <a:bodyPr anchor="b">
            <a:noAutofit/>
          </a:bodyPr>
          <a:lstStyle>
            <a:lvl1pPr algn="l"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10"/>
          </p:nvPr>
        </p:nvSpPr>
        <p:spPr>
          <a:xfrm>
            <a:off x="442913" y="5063331"/>
            <a:ext cx="4814887" cy="998538"/>
          </a:xfrm>
        </p:spPr>
        <p:txBody>
          <a:bodyPr>
            <a:noAutofit/>
          </a:bodyPr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8" name="Freeform 44">
            <a:extLst>
              <a:ext uri="{FF2B5EF4-FFF2-40B4-BE49-F238E27FC236}">
                <a16:creationId xmlns:a16="http://schemas.microsoft.com/office/drawing/2014/main" id="{69196B9C-0D13-41C0-B8B0-CDC040CD2C61}"/>
              </a:ext>
            </a:extLst>
          </p:cNvPr>
          <p:cNvSpPr>
            <a:spLocks noEditPoints="1"/>
          </p:cNvSpPr>
          <p:nvPr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256 w 290"/>
              <a:gd name="T11" fmla="*/ 323 h 375"/>
              <a:gd name="T12" fmla="*/ 143 w 290"/>
              <a:gd name="T13" fmla="*/ 313 h 375"/>
              <a:gd name="T14" fmla="*/ 222 w 290"/>
              <a:gd name="T15" fmla="*/ 273 h 375"/>
              <a:gd name="T16" fmla="*/ 18 w 290"/>
              <a:gd name="T17" fmla="*/ 95 h 375"/>
              <a:gd name="T18" fmla="*/ 3 w 290"/>
              <a:gd name="T19" fmla="*/ 83 h 375"/>
              <a:gd name="T20" fmla="*/ 3 w 290"/>
              <a:gd name="T21" fmla="*/ 83 h 375"/>
              <a:gd name="T22" fmla="*/ 0 w 290"/>
              <a:gd name="T23" fmla="*/ 80 h 375"/>
              <a:gd name="T24" fmla="*/ 4 w 290"/>
              <a:gd name="T25" fmla="*/ 21 h 375"/>
              <a:gd name="T26" fmla="*/ 139 w 290"/>
              <a:gd name="T27" fmla="*/ 0 h 375"/>
              <a:gd name="T28" fmla="*/ 147 w 290"/>
              <a:gd name="T29" fmla="*/ 0 h 375"/>
              <a:gd name="T30" fmla="*/ 215 w 290"/>
              <a:gd name="T31" fmla="*/ 11 h 375"/>
              <a:gd name="T32" fmla="*/ 230 w 290"/>
              <a:gd name="T33" fmla="*/ 13 h 375"/>
              <a:gd name="T34" fmla="*/ 267 w 290"/>
              <a:gd name="T35" fmla="*/ 19 h 375"/>
              <a:gd name="T36" fmla="*/ 290 w 290"/>
              <a:gd name="T37" fmla="*/ 46 h 375"/>
              <a:gd name="T38" fmla="*/ 290 w 290"/>
              <a:gd name="T39" fmla="*/ 118 h 375"/>
              <a:gd name="T40" fmla="*/ 230 w 290"/>
              <a:gd name="T41" fmla="*/ 144 h 375"/>
              <a:gd name="T42" fmla="*/ 230 w 290"/>
              <a:gd name="T43" fmla="*/ 74 h 375"/>
              <a:gd name="T44" fmla="*/ 143 w 290"/>
              <a:gd name="T45" fmla="*/ 61 h 375"/>
              <a:gd name="T46" fmla="*/ 81 w 290"/>
              <a:gd name="T47" fmla="*/ 71 h 375"/>
              <a:gd name="T48" fmla="*/ 96 w 290"/>
              <a:gd name="T49" fmla="*/ 83 h 375"/>
              <a:gd name="T50" fmla="*/ 96 w 290"/>
              <a:gd name="T51" fmla="*/ 83 h 375"/>
              <a:gd name="T52" fmla="*/ 283 w 290"/>
              <a:gd name="T53" fmla="*/ 247 h 375"/>
              <a:gd name="T54" fmla="*/ 283 w 290"/>
              <a:gd name="T55" fmla="*/ 247 h 375"/>
              <a:gd name="T56" fmla="*/ 288 w 290"/>
              <a:gd name="T57" fmla="*/ 250 h 375"/>
              <a:gd name="T58" fmla="*/ 283 w 290"/>
              <a:gd name="T59" fmla="*/ 309 h 375"/>
              <a:gd name="T60" fmla="*/ 270 w 290"/>
              <a:gd name="T61" fmla="*/ 316 h 375"/>
              <a:gd name="T62" fmla="*/ 258 w 290"/>
              <a:gd name="T63" fmla="*/ 322 h 375"/>
              <a:gd name="T64" fmla="*/ 156 w 290"/>
              <a:gd name="T65" fmla="*/ 375 h 375"/>
              <a:gd name="T66" fmla="*/ 131 w 290"/>
              <a:gd name="T67" fmla="*/ 375 h 375"/>
              <a:gd name="T68" fmla="*/ 31 w 290"/>
              <a:gd name="T69" fmla="*/ 323 h 375"/>
              <a:gd name="T70" fmla="*/ 31 w 290"/>
              <a:gd name="T71" fmla="*/ 323 h 375"/>
              <a:gd name="T72" fmla="*/ 18 w 290"/>
              <a:gd name="T73" fmla="*/ 316 h 375"/>
              <a:gd name="T74" fmla="*/ 16 w 290"/>
              <a:gd name="T75" fmla="*/ 316 h 375"/>
              <a:gd name="T76" fmla="*/ 4 w 290"/>
              <a:gd name="T77" fmla="*/ 309 h 375"/>
              <a:gd name="T78" fmla="*/ 0 w 290"/>
              <a:gd name="T79" fmla="*/ 250 h 375"/>
              <a:gd name="T80" fmla="*/ 86 w 290"/>
              <a:gd name="T81" fmla="*/ 175 h 375"/>
              <a:gd name="T82" fmla="*/ 132 w 290"/>
              <a:gd name="T83" fmla="*/ 215 h 375"/>
              <a:gd name="T84" fmla="*/ 65 w 290"/>
              <a:gd name="T85" fmla="*/ 273 h 375"/>
              <a:gd name="T86" fmla="*/ 143 w 290"/>
              <a:gd name="T87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close/>
                <a:moveTo>
                  <a:pt x="256" y="323"/>
                </a:moveTo>
                <a:lnTo>
                  <a:pt x="258" y="322"/>
                </a:lnTo>
                <a:lnTo>
                  <a:pt x="256" y="323"/>
                </a:lnTo>
                <a:close/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  <a:close/>
              </a:path>
            </a:pathLst>
          </a:custGeom>
          <a:solidFill>
            <a:srgbClr val="353A64">
              <a:alpha val="14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9" name="Freeform 45">
            <a:extLst>
              <a:ext uri="{FF2B5EF4-FFF2-40B4-BE49-F238E27FC236}">
                <a16:creationId xmlns:a16="http://schemas.microsoft.com/office/drawing/2014/main" id="{FA26C795-A228-45BC-9FD6-9F4B38F5758E}"/>
              </a:ext>
            </a:extLst>
          </p:cNvPr>
          <p:cNvSpPr>
            <a:spLocks noEditPoints="1"/>
          </p:cNvSpPr>
          <p:nvPr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143 w 290"/>
              <a:gd name="T11" fmla="*/ 313 h 375"/>
              <a:gd name="T12" fmla="*/ 222 w 290"/>
              <a:gd name="T13" fmla="*/ 273 h 375"/>
              <a:gd name="T14" fmla="*/ 18 w 290"/>
              <a:gd name="T15" fmla="*/ 95 h 375"/>
              <a:gd name="T16" fmla="*/ 3 w 290"/>
              <a:gd name="T17" fmla="*/ 83 h 375"/>
              <a:gd name="T18" fmla="*/ 3 w 290"/>
              <a:gd name="T19" fmla="*/ 83 h 375"/>
              <a:gd name="T20" fmla="*/ 0 w 290"/>
              <a:gd name="T21" fmla="*/ 80 h 375"/>
              <a:gd name="T22" fmla="*/ 4 w 290"/>
              <a:gd name="T23" fmla="*/ 21 h 375"/>
              <a:gd name="T24" fmla="*/ 139 w 290"/>
              <a:gd name="T25" fmla="*/ 0 h 375"/>
              <a:gd name="T26" fmla="*/ 147 w 290"/>
              <a:gd name="T27" fmla="*/ 0 h 375"/>
              <a:gd name="T28" fmla="*/ 215 w 290"/>
              <a:gd name="T29" fmla="*/ 11 h 375"/>
              <a:gd name="T30" fmla="*/ 230 w 290"/>
              <a:gd name="T31" fmla="*/ 13 h 375"/>
              <a:gd name="T32" fmla="*/ 267 w 290"/>
              <a:gd name="T33" fmla="*/ 19 h 375"/>
              <a:gd name="T34" fmla="*/ 290 w 290"/>
              <a:gd name="T35" fmla="*/ 46 h 375"/>
              <a:gd name="T36" fmla="*/ 290 w 290"/>
              <a:gd name="T37" fmla="*/ 118 h 375"/>
              <a:gd name="T38" fmla="*/ 230 w 290"/>
              <a:gd name="T39" fmla="*/ 144 h 375"/>
              <a:gd name="T40" fmla="*/ 230 w 290"/>
              <a:gd name="T41" fmla="*/ 74 h 375"/>
              <a:gd name="T42" fmla="*/ 143 w 290"/>
              <a:gd name="T43" fmla="*/ 61 h 375"/>
              <a:gd name="T44" fmla="*/ 81 w 290"/>
              <a:gd name="T45" fmla="*/ 71 h 375"/>
              <a:gd name="T46" fmla="*/ 96 w 290"/>
              <a:gd name="T47" fmla="*/ 83 h 375"/>
              <a:gd name="T48" fmla="*/ 96 w 290"/>
              <a:gd name="T49" fmla="*/ 83 h 375"/>
              <a:gd name="T50" fmla="*/ 283 w 290"/>
              <a:gd name="T51" fmla="*/ 247 h 375"/>
              <a:gd name="T52" fmla="*/ 283 w 290"/>
              <a:gd name="T53" fmla="*/ 247 h 375"/>
              <a:gd name="T54" fmla="*/ 288 w 290"/>
              <a:gd name="T55" fmla="*/ 250 h 375"/>
              <a:gd name="T56" fmla="*/ 283 w 290"/>
              <a:gd name="T57" fmla="*/ 309 h 375"/>
              <a:gd name="T58" fmla="*/ 270 w 290"/>
              <a:gd name="T59" fmla="*/ 316 h 375"/>
              <a:gd name="T60" fmla="*/ 258 w 290"/>
              <a:gd name="T61" fmla="*/ 322 h 375"/>
              <a:gd name="T62" fmla="*/ 156 w 290"/>
              <a:gd name="T63" fmla="*/ 375 h 375"/>
              <a:gd name="T64" fmla="*/ 131 w 290"/>
              <a:gd name="T65" fmla="*/ 375 h 375"/>
              <a:gd name="T66" fmla="*/ 31 w 290"/>
              <a:gd name="T67" fmla="*/ 323 h 375"/>
              <a:gd name="T68" fmla="*/ 31 w 290"/>
              <a:gd name="T69" fmla="*/ 323 h 375"/>
              <a:gd name="T70" fmla="*/ 18 w 290"/>
              <a:gd name="T71" fmla="*/ 316 h 375"/>
              <a:gd name="T72" fmla="*/ 16 w 290"/>
              <a:gd name="T73" fmla="*/ 316 h 375"/>
              <a:gd name="T74" fmla="*/ 4 w 290"/>
              <a:gd name="T75" fmla="*/ 309 h 375"/>
              <a:gd name="T76" fmla="*/ 0 w 290"/>
              <a:gd name="T77" fmla="*/ 250 h 375"/>
              <a:gd name="T78" fmla="*/ 86 w 290"/>
              <a:gd name="T79" fmla="*/ 175 h 375"/>
              <a:gd name="T80" fmla="*/ 132 w 290"/>
              <a:gd name="T81" fmla="*/ 215 h 375"/>
              <a:gd name="T82" fmla="*/ 65 w 290"/>
              <a:gd name="T83" fmla="*/ 273 h 375"/>
              <a:gd name="T84" fmla="*/ 143 w 290"/>
              <a:gd name="T85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moveTo>
                  <a:pt x="256" y="323"/>
                </a:moveTo>
                <a:lnTo>
                  <a:pt x="258" y="322"/>
                </a:lnTo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Freeform 45">
            <a:extLst>
              <a:ext uri="{FF2B5EF4-FFF2-40B4-BE49-F238E27FC236}">
                <a16:creationId xmlns:a16="http://schemas.microsoft.com/office/drawing/2014/main" id="{79325E2E-D578-4FA9-9710-062D2477457D}"/>
              </a:ext>
            </a:extLst>
          </p:cNvPr>
          <p:cNvSpPr>
            <a:spLocks noEditPoints="1"/>
          </p:cNvSpPr>
          <p:nvPr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143 w 290"/>
              <a:gd name="T11" fmla="*/ 313 h 375"/>
              <a:gd name="T12" fmla="*/ 222 w 290"/>
              <a:gd name="T13" fmla="*/ 273 h 375"/>
              <a:gd name="T14" fmla="*/ 18 w 290"/>
              <a:gd name="T15" fmla="*/ 95 h 375"/>
              <a:gd name="T16" fmla="*/ 3 w 290"/>
              <a:gd name="T17" fmla="*/ 83 h 375"/>
              <a:gd name="T18" fmla="*/ 3 w 290"/>
              <a:gd name="T19" fmla="*/ 83 h 375"/>
              <a:gd name="T20" fmla="*/ 0 w 290"/>
              <a:gd name="T21" fmla="*/ 80 h 375"/>
              <a:gd name="T22" fmla="*/ 4 w 290"/>
              <a:gd name="T23" fmla="*/ 21 h 375"/>
              <a:gd name="T24" fmla="*/ 139 w 290"/>
              <a:gd name="T25" fmla="*/ 0 h 375"/>
              <a:gd name="T26" fmla="*/ 147 w 290"/>
              <a:gd name="T27" fmla="*/ 0 h 375"/>
              <a:gd name="T28" fmla="*/ 215 w 290"/>
              <a:gd name="T29" fmla="*/ 11 h 375"/>
              <a:gd name="T30" fmla="*/ 230 w 290"/>
              <a:gd name="T31" fmla="*/ 13 h 375"/>
              <a:gd name="T32" fmla="*/ 267 w 290"/>
              <a:gd name="T33" fmla="*/ 19 h 375"/>
              <a:gd name="T34" fmla="*/ 290 w 290"/>
              <a:gd name="T35" fmla="*/ 46 h 375"/>
              <a:gd name="T36" fmla="*/ 290 w 290"/>
              <a:gd name="T37" fmla="*/ 118 h 375"/>
              <a:gd name="T38" fmla="*/ 230 w 290"/>
              <a:gd name="T39" fmla="*/ 144 h 375"/>
              <a:gd name="T40" fmla="*/ 230 w 290"/>
              <a:gd name="T41" fmla="*/ 74 h 375"/>
              <a:gd name="T42" fmla="*/ 143 w 290"/>
              <a:gd name="T43" fmla="*/ 61 h 375"/>
              <a:gd name="T44" fmla="*/ 81 w 290"/>
              <a:gd name="T45" fmla="*/ 71 h 375"/>
              <a:gd name="T46" fmla="*/ 96 w 290"/>
              <a:gd name="T47" fmla="*/ 83 h 375"/>
              <a:gd name="T48" fmla="*/ 96 w 290"/>
              <a:gd name="T49" fmla="*/ 83 h 375"/>
              <a:gd name="T50" fmla="*/ 283 w 290"/>
              <a:gd name="T51" fmla="*/ 247 h 375"/>
              <a:gd name="T52" fmla="*/ 283 w 290"/>
              <a:gd name="T53" fmla="*/ 247 h 375"/>
              <a:gd name="T54" fmla="*/ 288 w 290"/>
              <a:gd name="T55" fmla="*/ 250 h 375"/>
              <a:gd name="T56" fmla="*/ 283 w 290"/>
              <a:gd name="T57" fmla="*/ 309 h 375"/>
              <a:gd name="T58" fmla="*/ 270 w 290"/>
              <a:gd name="T59" fmla="*/ 316 h 375"/>
              <a:gd name="T60" fmla="*/ 258 w 290"/>
              <a:gd name="T61" fmla="*/ 322 h 375"/>
              <a:gd name="T62" fmla="*/ 156 w 290"/>
              <a:gd name="T63" fmla="*/ 375 h 375"/>
              <a:gd name="T64" fmla="*/ 131 w 290"/>
              <a:gd name="T65" fmla="*/ 375 h 375"/>
              <a:gd name="T66" fmla="*/ 31 w 290"/>
              <a:gd name="T67" fmla="*/ 323 h 375"/>
              <a:gd name="T68" fmla="*/ 31 w 290"/>
              <a:gd name="T69" fmla="*/ 323 h 375"/>
              <a:gd name="T70" fmla="*/ 18 w 290"/>
              <a:gd name="T71" fmla="*/ 316 h 375"/>
              <a:gd name="T72" fmla="*/ 16 w 290"/>
              <a:gd name="T73" fmla="*/ 316 h 375"/>
              <a:gd name="T74" fmla="*/ 4 w 290"/>
              <a:gd name="T75" fmla="*/ 309 h 375"/>
              <a:gd name="T76" fmla="*/ 0 w 290"/>
              <a:gd name="T77" fmla="*/ 250 h 375"/>
              <a:gd name="T78" fmla="*/ 86 w 290"/>
              <a:gd name="T79" fmla="*/ 175 h 375"/>
              <a:gd name="T80" fmla="*/ 132 w 290"/>
              <a:gd name="T81" fmla="*/ 215 h 375"/>
              <a:gd name="T82" fmla="*/ 65 w 290"/>
              <a:gd name="T83" fmla="*/ 273 h 375"/>
              <a:gd name="T84" fmla="*/ 143 w 290"/>
              <a:gd name="T85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moveTo>
                  <a:pt x="256" y="323"/>
                </a:moveTo>
                <a:lnTo>
                  <a:pt x="258" y="322"/>
                </a:lnTo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Freeform 45">
            <a:extLst>
              <a:ext uri="{FF2B5EF4-FFF2-40B4-BE49-F238E27FC236}">
                <a16:creationId xmlns:a16="http://schemas.microsoft.com/office/drawing/2014/main" id="{07B46B3D-3EFC-48A1-93E2-C96F6D881EF6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143 w 290"/>
              <a:gd name="T11" fmla="*/ 313 h 375"/>
              <a:gd name="T12" fmla="*/ 222 w 290"/>
              <a:gd name="T13" fmla="*/ 273 h 375"/>
              <a:gd name="T14" fmla="*/ 18 w 290"/>
              <a:gd name="T15" fmla="*/ 95 h 375"/>
              <a:gd name="T16" fmla="*/ 3 w 290"/>
              <a:gd name="T17" fmla="*/ 83 h 375"/>
              <a:gd name="T18" fmla="*/ 3 w 290"/>
              <a:gd name="T19" fmla="*/ 83 h 375"/>
              <a:gd name="T20" fmla="*/ 0 w 290"/>
              <a:gd name="T21" fmla="*/ 80 h 375"/>
              <a:gd name="T22" fmla="*/ 4 w 290"/>
              <a:gd name="T23" fmla="*/ 21 h 375"/>
              <a:gd name="T24" fmla="*/ 139 w 290"/>
              <a:gd name="T25" fmla="*/ 0 h 375"/>
              <a:gd name="T26" fmla="*/ 147 w 290"/>
              <a:gd name="T27" fmla="*/ 0 h 375"/>
              <a:gd name="T28" fmla="*/ 215 w 290"/>
              <a:gd name="T29" fmla="*/ 11 h 375"/>
              <a:gd name="T30" fmla="*/ 230 w 290"/>
              <a:gd name="T31" fmla="*/ 13 h 375"/>
              <a:gd name="T32" fmla="*/ 267 w 290"/>
              <a:gd name="T33" fmla="*/ 19 h 375"/>
              <a:gd name="T34" fmla="*/ 290 w 290"/>
              <a:gd name="T35" fmla="*/ 46 h 375"/>
              <a:gd name="T36" fmla="*/ 290 w 290"/>
              <a:gd name="T37" fmla="*/ 118 h 375"/>
              <a:gd name="T38" fmla="*/ 230 w 290"/>
              <a:gd name="T39" fmla="*/ 144 h 375"/>
              <a:gd name="T40" fmla="*/ 230 w 290"/>
              <a:gd name="T41" fmla="*/ 74 h 375"/>
              <a:gd name="T42" fmla="*/ 143 w 290"/>
              <a:gd name="T43" fmla="*/ 61 h 375"/>
              <a:gd name="T44" fmla="*/ 81 w 290"/>
              <a:gd name="T45" fmla="*/ 71 h 375"/>
              <a:gd name="T46" fmla="*/ 96 w 290"/>
              <a:gd name="T47" fmla="*/ 83 h 375"/>
              <a:gd name="T48" fmla="*/ 96 w 290"/>
              <a:gd name="T49" fmla="*/ 83 h 375"/>
              <a:gd name="T50" fmla="*/ 283 w 290"/>
              <a:gd name="T51" fmla="*/ 247 h 375"/>
              <a:gd name="T52" fmla="*/ 283 w 290"/>
              <a:gd name="T53" fmla="*/ 247 h 375"/>
              <a:gd name="T54" fmla="*/ 288 w 290"/>
              <a:gd name="T55" fmla="*/ 250 h 375"/>
              <a:gd name="T56" fmla="*/ 283 w 290"/>
              <a:gd name="T57" fmla="*/ 309 h 375"/>
              <a:gd name="T58" fmla="*/ 270 w 290"/>
              <a:gd name="T59" fmla="*/ 316 h 375"/>
              <a:gd name="T60" fmla="*/ 258 w 290"/>
              <a:gd name="T61" fmla="*/ 322 h 375"/>
              <a:gd name="T62" fmla="*/ 156 w 290"/>
              <a:gd name="T63" fmla="*/ 375 h 375"/>
              <a:gd name="T64" fmla="*/ 131 w 290"/>
              <a:gd name="T65" fmla="*/ 375 h 375"/>
              <a:gd name="T66" fmla="*/ 31 w 290"/>
              <a:gd name="T67" fmla="*/ 323 h 375"/>
              <a:gd name="T68" fmla="*/ 31 w 290"/>
              <a:gd name="T69" fmla="*/ 323 h 375"/>
              <a:gd name="T70" fmla="*/ 18 w 290"/>
              <a:gd name="T71" fmla="*/ 316 h 375"/>
              <a:gd name="T72" fmla="*/ 16 w 290"/>
              <a:gd name="T73" fmla="*/ 316 h 375"/>
              <a:gd name="T74" fmla="*/ 4 w 290"/>
              <a:gd name="T75" fmla="*/ 309 h 375"/>
              <a:gd name="T76" fmla="*/ 0 w 290"/>
              <a:gd name="T77" fmla="*/ 250 h 375"/>
              <a:gd name="T78" fmla="*/ 86 w 290"/>
              <a:gd name="T79" fmla="*/ 175 h 375"/>
              <a:gd name="T80" fmla="*/ 132 w 290"/>
              <a:gd name="T81" fmla="*/ 215 h 375"/>
              <a:gd name="T82" fmla="*/ 65 w 290"/>
              <a:gd name="T83" fmla="*/ 273 h 375"/>
              <a:gd name="T84" fmla="*/ 143 w 290"/>
              <a:gd name="T85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moveTo>
                  <a:pt x="256" y="323"/>
                </a:moveTo>
                <a:lnTo>
                  <a:pt x="258" y="322"/>
                </a:lnTo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213234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3999117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53824803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ducing_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925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000" b="0" i="0" baseline="0" dirty="0">
              <a:latin typeface="Arial" panose="020B0604020202020204" pitchFamily="34" charset="0"/>
              <a:ea typeface="+mj-ea"/>
              <a:cs typeface="+mj-cs"/>
              <a:sym typeface="Lato Semibold" panose="020F0502020204030203" pitchFamily="34" charset="0"/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4173967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2913967" y="2169000"/>
            <a:ext cx="2520000" cy="2520000"/>
          </a:xfrm>
          <a:prstGeom prst="ellipse">
            <a:avLst/>
          </a:prstGeom>
          <a:solidFill>
            <a:schemeClr val="bg1">
              <a:lumMod val="100000"/>
            </a:schemeClr>
          </a:solidFill>
          <a:ln w="2540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sr-Latn-RS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5757934" y="2385597"/>
            <a:ext cx="4520201" cy="432000"/>
          </a:xfrm>
        </p:spPr>
        <p:txBody>
          <a:bodyPr anchor="t">
            <a:noAutofit/>
          </a:bodyPr>
          <a:lstStyle>
            <a:lvl1pPr marL="0" indent="0" algn="l">
              <a:spcBef>
                <a:spcPts val="300"/>
              </a:spcBef>
              <a:buNone/>
              <a:defRPr sz="28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5757934" y="2846547"/>
            <a:ext cx="4520201" cy="288000"/>
          </a:xfrm>
        </p:spPr>
        <p:txBody>
          <a:bodyPr anchor="t">
            <a:noAutofit/>
          </a:bodyPr>
          <a:lstStyle>
            <a:lvl1pPr marL="0" indent="0" algn="l">
              <a:spcBef>
                <a:spcPts val="300"/>
              </a:spcBef>
              <a:buNone/>
              <a:defRPr sz="1800" b="0" i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5757934" y="3190133"/>
            <a:ext cx="4520201" cy="1376754"/>
          </a:xfrm>
        </p:spPr>
        <p:txBody>
          <a:bodyPr anchor="t">
            <a:noAutofit/>
          </a:bodyPr>
          <a:lstStyle>
            <a:lvl1pPr marL="0" indent="0" algn="l">
              <a:spcBef>
                <a:spcPts val="300"/>
              </a:spcBef>
              <a:buNone/>
              <a:defRPr sz="1800" b="0" i="0" u="none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7110513B-FB06-4F25-A0C3-6C3CD462F870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926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7110513B-FB06-4F25-A0C3-6C3CD462F8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E033B574-531E-4D27-BBE9-BD1327EA553A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000" b="0" i="0" baseline="0" dirty="0">
              <a:latin typeface="Arial" panose="020B0604020202020204" pitchFamily="34" charset="0"/>
              <a:ea typeface="+mj-ea"/>
              <a:cs typeface="+mj-cs"/>
              <a:sym typeface="Lato Semibold" panose="020F0502020204030203" pitchFamily="34" charset="0"/>
            </a:endParaRPr>
          </a:p>
        </p:txBody>
      </p:sp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9D22E462-55A6-429E-8BE9-A45F747E9D7B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927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9D22E462-55A6-429E-8BE9-A45F747E9D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2449987F-5EFF-43A4-A612-55F8334D88B5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000" b="0" i="0" baseline="0" dirty="0">
              <a:latin typeface="Arial" panose="020B0604020202020204" pitchFamily="34" charset="0"/>
              <a:ea typeface="+mj-ea"/>
              <a:cs typeface="+mj-cs"/>
              <a:sym typeface="Lato Semibold" panose="020F0502020204030203" pitchFamily="34" charset="0"/>
            </a:endParaRPr>
          </a:p>
        </p:txBody>
      </p:sp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586C393D-8CF9-4854-90E6-67DAB62D7CE7}"/>
              </a:ext>
            </a:extLst>
          </p:cNvPr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928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586C393D-8CF9-4854-90E6-67DAB62D7C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id="{F1E38463-3513-4AF0-A6D2-B2176D9EC345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000" b="0" i="0" baseline="0" dirty="0">
              <a:latin typeface="Arial" panose="020B0604020202020204" pitchFamily="34" charset="0"/>
              <a:ea typeface="+mj-ea"/>
              <a:cs typeface="+mj-cs"/>
              <a:sym typeface="Lato Semibold" panose="020F0502020204030203" pitchFamily="34" charset="0"/>
            </a:endParaRPr>
          </a:p>
        </p:txBody>
      </p:sp>
      <p:graphicFrame>
        <p:nvGraphicFramePr>
          <p:cNvPr id="19" name="Object 18" hidden="1">
            <a:extLst>
              <a:ext uri="{FF2B5EF4-FFF2-40B4-BE49-F238E27FC236}">
                <a16:creationId xmlns:a16="http://schemas.microsoft.com/office/drawing/2014/main" id="{31089EFB-747E-4AE1-A818-EF658C15C7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929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586C393D-8CF9-4854-90E6-67DAB62D7C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tangle 19" hidden="1">
            <a:extLst>
              <a:ext uri="{FF2B5EF4-FFF2-40B4-BE49-F238E27FC236}">
                <a16:creationId xmlns:a16="http://schemas.microsoft.com/office/drawing/2014/main" id="{EA5A013E-D170-49D7-A8CD-10BC71145E94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000" b="0" i="0" baseline="0" dirty="0">
              <a:latin typeface="Arial" panose="020B0604020202020204" pitchFamily="34" charset="0"/>
              <a:ea typeface="+mj-ea"/>
              <a:cs typeface="+mj-cs"/>
              <a:sym typeface="Lato Semibold" panose="020F050202020403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6144485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pictur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42911" y="4505325"/>
            <a:ext cx="10368001" cy="18034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just">
              <a:buNone/>
              <a:defRPr sz="16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0F591CB7-A523-441B-8478-657A83BAA29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1341438"/>
            <a:ext cx="11453586" cy="2887662"/>
          </a:xfrm>
          <a:custGeom>
            <a:avLst/>
            <a:gdLst>
              <a:gd name="connsiteX0" fmla="*/ 0 w 11453586"/>
              <a:gd name="connsiteY0" fmla="*/ 0 h 2887662"/>
              <a:gd name="connsiteX1" fmla="*/ 11453586 w 11453586"/>
              <a:gd name="connsiteY1" fmla="*/ 0 h 2887662"/>
              <a:gd name="connsiteX2" fmla="*/ 11265494 w 11453586"/>
              <a:gd name="connsiteY2" fmla="*/ 1567043 h 2887662"/>
              <a:gd name="connsiteX3" fmla="*/ 11010900 w 11453586"/>
              <a:gd name="connsiteY3" fmla="*/ 1999148 h 2887662"/>
              <a:gd name="connsiteX4" fmla="*/ 11207607 w 11453586"/>
              <a:gd name="connsiteY4" fmla="*/ 2887662 h 2887662"/>
              <a:gd name="connsiteX5" fmla="*/ 0 w 11453586"/>
              <a:gd name="connsiteY5" fmla="*/ 2887662 h 28876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453586" h="2887662">
                <a:moveTo>
                  <a:pt x="0" y="0"/>
                </a:moveTo>
                <a:lnTo>
                  <a:pt x="11453586" y="0"/>
                </a:lnTo>
                <a:lnTo>
                  <a:pt x="11265494" y="1567043"/>
                </a:lnTo>
                <a:lnTo>
                  <a:pt x="11010900" y="1999148"/>
                </a:lnTo>
                <a:lnTo>
                  <a:pt x="11207607" y="2887662"/>
                </a:lnTo>
                <a:lnTo>
                  <a:pt x="0" y="288766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996954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_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712494" y="1797051"/>
            <a:ext cx="3058080" cy="2160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95560" y="4178300"/>
            <a:ext cx="3074957" cy="3831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0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95560" y="4623043"/>
            <a:ext cx="3058080" cy="12538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073043" y="4178300"/>
            <a:ext cx="3058024" cy="3831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0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4056109" y="4623043"/>
            <a:ext cx="3058080" cy="12538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7416715" y="4178300"/>
            <a:ext cx="3074957" cy="3831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0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8"/>
          </p:nvPr>
        </p:nvSpPr>
        <p:spPr>
          <a:xfrm>
            <a:off x="7416715" y="4623043"/>
            <a:ext cx="3058080" cy="12538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4073043" y="1797051"/>
            <a:ext cx="3058080" cy="2160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7" name="Picture Placeholder 5"/>
          <p:cNvSpPr>
            <a:spLocks noGrp="1"/>
          </p:cNvSpPr>
          <p:nvPr>
            <p:ph type="pic" sz="quarter" idx="23"/>
          </p:nvPr>
        </p:nvSpPr>
        <p:spPr>
          <a:xfrm>
            <a:off x="7433592" y="1797051"/>
            <a:ext cx="3058080" cy="2160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7161974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hree circular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1210043" y="1572462"/>
            <a:ext cx="2206800" cy="2207683"/>
          </a:xfrm>
          <a:prstGeom prst="ellipse">
            <a:avLst/>
          </a:prstGeom>
          <a:ln w="3810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7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4570649" y="1572462"/>
            <a:ext cx="2206800" cy="2207683"/>
          </a:xfrm>
          <a:prstGeom prst="ellipse">
            <a:avLst/>
          </a:prstGeom>
          <a:ln w="3810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7931255" y="1572462"/>
            <a:ext cx="2206800" cy="2207683"/>
          </a:xfrm>
          <a:prstGeom prst="ellipse">
            <a:avLst/>
          </a:prstGeom>
          <a:ln w="3810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864262" y="4023562"/>
            <a:ext cx="2898478" cy="360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Aft>
                <a:spcPts val="0"/>
              </a:spcAft>
              <a:buNone/>
              <a:defRPr sz="2000" b="1">
                <a:solidFill>
                  <a:schemeClr val="accent1">
                    <a:lumMod val="10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864260" y="4383562"/>
            <a:ext cx="2898480" cy="17473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6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224812" y="4023562"/>
            <a:ext cx="2898478" cy="360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Aft>
                <a:spcPts val="0"/>
              </a:spcAft>
              <a:buNone/>
              <a:defRPr sz="2000" b="1">
                <a:solidFill>
                  <a:schemeClr val="accent1">
                    <a:lumMod val="10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4224809" y="4383562"/>
            <a:ext cx="2898480" cy="17473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6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7585417" y="4023562"/>
            <a:ext cx="2898478" cy="360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Aft>
                <a:spcPts val="0"/>
              </a:spcAft>
              <a:buNone/>
              <a:defRPr sz="2000" b="1">
                <a:solidFill>
                  <a:schemeClr val="accent1">
                    <a:lumMod val="10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8"/>
          </p:nvPr>
        </p:nvSpPr>
        <p:spPr>
          <a:xfrm>
            <a:off x="7585415" y="4383562"/>
            <a:ext cx="2898480" cy="17473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6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7213906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1" y="2009440"/>
            <a:ext cx="6143625" cy="3635739"/>
          </a:xfrm>
        </p:spPr>
        <p:txBody>
          <a:bodyPr/>
          <a:lstStyle/>
          <a:p>
            <a:r>
              <a:rPr lang="en-US"/>
              <a:t>Click icon to add picture</a:t>
            </a:r>
            <a:endParaRPr lang="fr-FR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1A47580F-5D75-4F5B-8AEF-502D2A0C3317}"/>
              </a:ext>
            </a:extLst>
          </p:cNvPr>
          <p:cNvSpPr>
            <a:spLocks/>
          </p:cNvSpPr>
          <p:nvPr/>
        </p:nvSpPr>
        <p:spPr bwMode="auto">
          <a:xfrm>
            <a:off x="6143624" y="2009441"/>
            <a:ext cx="5377486" cy="3635739"/>
          </a:xfrm>
          <a:custGeom>
            <a:avLst/>
            <a:gdLst>
              <a:gd name="connsiteX0" fmla="*/ 0 w 5377486"/>
              <a:gd name="connsiteY0" fmla="*/ 0 h 3635739"/>
              <a:gd name="connsiteX1" fmla="*/ 5229782 w 5377486"/>
              <a:gd name="connsiteY1" fmla="*/ 0 h 3635739"/>
              <a:gd name="connsiteX2" fmla="*/ 5121870 w 5377486"/>
              <a:gd name="connsiteY2" fmla="*/ 899041 h 3635739"/>
              <a:gd name="connsiteX3" fmla="*/ 4867276 w 5377486"/>
              <a:gd name="connsiteY3" fmla="*/ 1331146 h 3635739"/>
              <a:gd name="connsiteX4" fmla="*/ 5377486 w 5377486"/>
              <a:gd name="connsiteY4" fmla="*/ 3635739 h 3635739"/>
              <a:gd name="connsiteX5" fmla="*/ 0 w 5377486"/>
              <a:gd name="connsiteY5" fmla="*/ 3635739 h 3635739"/>
              <a:gd name="connsiteX6" fmla="*/ 0 w 5377486"/>
              <a:gd name="connsiteY6" fmla="*/ 0 h 36357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377486" h="3635739">
                <a:moveTo>
                  <a:pt x="0" y="0"/>
                </a:moveTo>
                <a:lnTo>
                  <a:pt x="5229782" y="0"/>
                </a:lnTo>
                <a:lnTo>
                  <a:pt x="5121870" y="899041"/>
                </a:lnTo>
                <a:lnTo>
                  <a:pt x="4867276" y="1331146"/>
                </a:lnTo>
                <a:lnTo>
                  <a:pt x="5377486" y="3635739"/>
                </a:lnTo>
                <a:lnTo>
                  <a:pt x="0" y="3635739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5000">
                <a:schemeClr val="accent1"/>
              </a:gs>
              <a:gs pos="100000">
                <a:schemeClr val="accent2"/>
              </a:gs>
            </a:gsLst>
            <a:lin ang="189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F6657D8-299A-4EC6-A6D2-8FD9B92F86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88099" y="2133600"/>
            <a:ext cx="4422813" cy="3378200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6ECB4BF9-24E4-4D5F-9425-BA9DAD3A2D6A}"/>
              </a:ext>
            </a:extLst>
          </p:cNvPr>
          <p:cNvSpPr>
            <a:spLocks/>
          </p:cNvSpPr>
          <p:nvPr/>
        </p:nvSpPr>
        <p:spPr bwMode="auto">
          <a:xfrm>
            <a:off x="6143624" y="2009441"/>
            <a:ext cx="5377486" cy="3635739"/>
          </a:xfrm>
          <a:custGeom>
            <a:avLst/>
            <a:gdLst>
              <a:gd name="connsiteX0" fmla="*/ 0 w 5377486"/>
              <a:gd name="connsiteY0" fmla="*/ 0 h 3635739"/>
              <a:gd name="connsiteX1" fmla="*/ 5229782 w 5377486"/>
              <a:gd name="connsiteY1" fmla="*/ 0 h 3635739"/>
              <a:gd name="connsiteX2" fmla="*/ 5121870 w 5377486"/>
              <a:gd name="connsiteY2" fmla="*/ 899041 h 3635739"/>
              <a:gd name="connsiteX3" fmla="*/ 4867276 w 5377486"/>
              <a:gd name="connsiteY3" fmla="*/ 1331146 h 3635739"/>
              <a:gd name="connsiteX4" fmla="*/ 5377486 w 5377486"/>
              <a:gd name="connsiteY4" fmla="*/ 3635739 h 3635739"/>
              <a:gd name="connsiteX5" fmla="*/ 0 w 5377486"/>
              <a:gd name="connsiteY5" fmla="*/ 3635739 h 3635739"/>
              <a:gd name="connsiteX6" fmla="*/ 0 w 5377486"/>
              <a:gd name="connsiteY6" fmla="*/ 0 h 36357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377486" h="3635739">
                <a:moveTo>
                  <a:pt x="0" y="0"/>
                </a:moveTo>
                <a:lnTo>
                  <a:pt x="5229782" y="0"/>
                </a:lnTo>
                <a:lnTo>
                  <a:pt x="5121870" y="899041"/>
                </a:lnTo>
                <a:lnTo>
                  <a:pt x="4867276" y="1331146"/>
                </a:lnTo>
                <a:lnTo>
                  <a:pt x="5377486" y="3635739"/>
                </a:lnTo>
                <a:lnTo>
                  <a:pt x="0" y="3635739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5000">
                <a:schemeClr val="accent1"/>
              </a:gs>
              <a:gs pos="100000">
                <a:schemeClr val="accent2"/>
              </a:gs>
            </a:gsLst>
            <a:lin ang="189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D4A64007-82A0-4D38-A8A9-558B2D3F9798}"/>
              </a:ext>
            </a:extLst>
          </p:cNvPr>
          <p:cNvSpPr>
            <a:spLocks/>
          </p:cNvSpPr>
          <p:nvPr userDrawn="1"/>
        </p:nvSpPr>
        <p:spPr bwMode="auto">
          <a:xfrm>
            <a:off x="6143624" y="2009441"/>
            <a:ext cx="5377486" cy="3635739"/>
          </a:xfrm>
          <a:custGeom>
            <a:avLst/>
            <a:gdLst>
              <a:gd name="connsiteX0" fmla="*/ 0 w 5377486"/>
              <a:gd name="connsiteY0" fmla="*/ 0 h 3635739"/>
              <a:gd name="connsiteX1" fmla="*/ 5229782 w 5377486"/>
              <a:gd name="connsiteY1" fmla="*/ 0 h 3635739"/>
              <a:gd name="connsiteX2" fmla="*/ 5121870 w 5377486"/>
              <a:gd name="connsiteY2" fmla="*/ 899041 h 3635739"/>
              <a:gd name="connsiteX3" fmla="*/ 4867276 w 5377486"/>
              <a:gd name="connsiteY3" fmla="*/ 1331146 h 3635739"/>
              <a:gd name="connsiteX4" fmla="*/ 5377486 w 5377486"/>
              <a:gd name="connsiteY4" fmla="*/ 3635739 h 3635739"/>
              <a:gd name="connsiteX5" fmla="*/ 0 w 5377486"/>
              <a:gd name="connsiteY5" fmla="*/ 3635739 h 3635739"/>
              <a:gd name="connsiteX6" fmla="*/ 0 w 5377486"/>
              <a:gd name="connsiteY6" fmla="*/ 0 h 36357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377486" h="3635739">
                <a:moveTo>
                  <a:pt x="0" y="0"/>
                </a:moveTo>
                <a:lnTo>
                  <a:pt x="5229782" y="0"/>
                </a:lnTo>
                <a:lnTo>
                  <a:pt x="5121870" y="899041"/>
                </a:lnTo>
                <a:lnTo>
                  <a:pt x="4867276" y="1331146"/>
                </a:lnTo>
                <a:lnTo>
                  <a:pt x="5377486" y="3635739"/>
                </a:lnTo>
                <a:lnTo>
                  <a:pt x="0" y="3635739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5000">
                <a:schemeClr val="accent1"/>
              </a:gs>
              <a:gs pos="100000">
                <a:schemeClr val="accent2"/>
              </a:gs>
            </a:gsLst>
            <a:lin ang="189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383804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5903578" y="1976470"/>
            <a:ext cx="4907335" cy="1264236"/>
          </a:xfrm>
        </p:spPr>
        <p:txBody>
          <a:bodyPr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0"/>
          </p:nvPr>
        </p:nvSpPr>
        <p:spPr>
          <a:xfrm>
            <a:off x="5903578" y="4153611"/>
            <a:ext cx="4907335" cy="1264236"/>
          </a:xfrm>
        </p:spPr>
        <p:txBody>
          <a:bodyPr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70D85D52-66CB-4B04-9B6B-C9ABBA529057}"/>
              </a:ext>
            </a:extLst>
          </p:cNvPr>
          <p:cNvSpPr/>
          <p:nvPr userDrawn="1"/>
        </p:nvSpPr>
        <p:spPr>
          <a:xfrm>
            <a:off x="4990245" y="2237830"/>
            <a:ext cx="720000" cy="720000"/>
          </a:xfrm>
          <a:prstGeom prst="ellipse">
            <a:avLst/>
          </a:prstGeom>
          <a:solidFill>
            <a:schemeClr val="accent1"/>
          </a:solidFill>
          <a:ln>
            <a:solidFill>
              <a:schemeClr val="bg1">
                <a:lumMod val="10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ABB6BFB3-C51E-409F-86CF-373C364C9A5D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42912" y="1654178"/>
            <a:ext cx="4907335" cy="1887311"/>
          </a:xfrm>
          <a:custGeom>
            <a:avLst/>
            <a:gdLst>
              <a:gd name="connsiteX0" fmla="*/ 0 w 4907335"/>
              <a:gd name="connsiteY0" fmla="*/ 0 h 1887311"/>
              <a:gd name="connsiteX1" fmla="*/ 4907335 w 4907335"/>
              <a:gd name="connsiteY1" fmla="*/ 0 h 1887311"/>
              <a:gd name="connsiteX2" fmla="*/ 4907335 w 4907335"/>
              <a:gd name="connsiteY2" fmla="*/ 583653 h 1887311"/>
              <a:gd name="connsiteX3" fmla="*/ 4907333 w 4907335"/>
              <a:gd name="connsiteY3" fmla="*/ 583653 h 1887311"/>
              <a:gd name="connsiteX4" fmla="*/ 4547333 w 4907335"/>
              <a:gd name="connsiteY4" fmla="*/ 943653 h 1887311"/>
              <a:gd name="connsiteX5" fmla="*/ 4907333 w 4907335"/>
              <a:gd name="connsiteY5" fmla="*/ 1303653 h 1887311"/>
              <a:gd name="connsiteX6" fmla="*/ 4907335 w 4907335"/>
              <a:gd name="connsiteY6" fmla="*/ 1303653 h 1887311"/>
              <a:gd name="connsiteX7" fmla="*/ 4907335 w 4907335"/>
              <a:gd name="connsiteY7" fmla="*/ 1887311 h 1887311"/>
              <a:gd name="connsiteX8" fmla="*/ 0 w 4907335"/>
              <a:gd name="connsiteY8" fmla="*/ 1887311 h 18873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907335" h="1887311">
                <a:moveTo>
                  <a:pt x="0" y="0"/>
                </a:moveTo>
                <a:lnTo>
                  <a:pt x="4907335" y="0"/>
                </a:lnTo>
                <a:lnTo>
                  <a:pt x="4907335" y="583653"/>
                </a:lnTo>
                <a:lnTo>
                  <a:pt x="4907333" y="583653"/>
                </a:lnTo>
                <a:cubicBezTo>
                  <a:pt x="4708510" y="583653"/>
                  <a:pt x="4547333" y="744830"/>
                  <a:pt x="4547333" y="943653"/>
                </a:cubicBezTo>
                <a:cubicBezTo>
                  <a:pt x="4547333" y="1142476"/>
                  <a:pt x="4708510" y="1303653"/>
                  <a:pt x="4907333" y="1303653"/>
                </a:cubicBezTo>
                <a:lnTo>
                  <a:pt x="4907335" y="1303653"/>
                </a:lnTo>
                <a:lnTo>
                  <a:pt x="4907335" y="1887311"/>
                </a:lnTo>
                <a:lnTo>
                  <a:pt x="0" y="1887311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 dirty="0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08CEDD78-0C23-44FA-8379-8281A4C97D4D}"/>
              </a:ext>
            </a:extLst>
          </p:cNvPr>
          <p:cNvSpPr>
            <a:spLocks/>
          </p:cNvSpPr>
          <p:nvPr userDrawn="1"/>
        </p:nvSpPr>
        <p:spPr>
          <a:xfrm>
            <a:off x="4990245" y="4414974"/>
            <a:ext cx="720000" cy="720000"/>
          </a:xfrm>
          <a:prstGeom prst="ellipse">
            <a:avLst/>
          </a:prstGeom>
          <a:solidFill>
            <a:schemeClr val="accent2"/>
          </a:solidFill>
          <a:ln>
            <a:solidFill>
              <a:schemeClr val="bg1">
                <a:lumMod val="10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0C6C8902-A526-4F76-AC51-FFE235407114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442912" y="3831318"/>
            <a:ext cx="4907335" cy="1887311"/>
          </a:xfrm>
          <a:custGeom>
            <a:avLst/>
            <a:gdLst>
              <a:gd name="connsiteX0" fmla="*/ 0 w 4907335"/>
              <a:gd name="connsiteY0" fmla="*/ 0 h 1887311"/>
              <a:gd name="connsiteX1" fmla="*/ 4907335 w 4907335"/>
              <a:gd name="connsiteY1" fmla="*/ 0 h 1887311"/>
              <a:gd name="connsiteX2" fmla="*/ 4907335 w 4907335"/>
              <a:gd name="connsiteY2" fmla="*/ 583653 h 1887311"/>
              <a:gd name="connsiteX3" fmla="*/ 4907333 w 4907335"/>
              <a:gd name="connsiteY3" fmla="*/ 583653 h 1887311"/>
              <a:gd name="connsiteX4" fmla="*/ 4547333 w 4907335"/>
              <a:gd name="connsiteY4" fmla="*/ 943653 h 1887311"/>
              <a:gd name="connsiteX5" fmla="*/ 4907333 w 4907335"/>
              <a:gd name="connsiteY5" fmla="*/ 1303653 h 1887311"/>
              <a:gd name="connsiteX6" fmla="*/ 4907335 w 4907335"/>
              <a:gd name="connsiteY6" fmla="*/ 1303653 h 1887311"/>
              <a:gd name="connsiteX7" fmla="*/ 4907335 w 4907335"/>
              <a:gd name="connsiteY7" fmla="*/ 1887311 h 1887311"/>
              <a:gd name="connsiteX8" fmla="*/ 0 w 4907335"/>
              <a:gd name="connsiteY8" fmla="*/ 1887311 h 18873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907335" h="1887311">
                <a:moveTo>
                  <a:pt x="0" y="0"/>
                </a:moveTo>
                <a:lnTo>
                  <a:pt x="4907335" y="0"/>
                </a:lnTo>
                <a:lnTo>
                  <a:pt x="4907335" y="583653"/>
                </a:lnTo>
                <a:lnTo>
                  <a:pt x="4907333" y="583653"/>
                </a:lnTo>
                <a:cubicBezTo>
                  <a:pt x="4708510" y="583653"/>
                  <a:pt x="4547333" y="744830"/>
                  <a:pt x="4547333" y="943653"/>
                </a:cubicBezTo>
                <a:cubicBezTo>
                  <a:pt x="4547333" y="1142476"/>
                  <a:pt x="4708510" y="1303653"/>
                  <a:pt x="4907333" y="1303653"/>
                </a:cubicBezTo>
                <a:lnTo>
                  <a:pt x="4907335" y="1303653"/>
                </a:lnTo>
                <a:lnTo>
                  <a:pt x="4907335" y="1887311"/>
                </a:lnTo>
                <a:lnTo>
                  <a:pt x="0" y="1887311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895744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CC66C825-29CF-422B-9BFE-ABCFF6F030BD}"/>
              </a:ext>
            </a:extLst>
          </p:cNvPr>
          <p:cNvGrpSpPr/>
          <p:nvPr/>
        </p:nvGrpSpPr>
        <p:grpSpPr>
          <a:xfrm>
            <a:off x="1" y="1588"/>
            <a:ext cx="5521325" cy="6856412"/>
            <a:chOff x="1" y="1588"/>
            <a:chExt cx="5521325" cy="6856412"/>
          </a:xfrm>
        </p:grpSpPr>
        <p:sp>
          <p:nvSpPr>
            <p:cNvPr id="4" name="Freeform 5">
              <a:extLst>
                <a:ext uri="{FF2B5EF4-FFF2-40B4-BE49-F238E27FC236}">
                  <a16:creationId xmlns:a16="http://schemas.microsoft.com/office/drawing/2014/main" id="{4635222D-0315-4783-96D6-E690679D74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" y="1588"/>
              <a:ext cx="5172075" cy="6856412"/>
            </a:xfrm>
            <a:custGeom>
              <a:avLst/>
              <a:gdLst>
                <a:gd name="T0" fmla="*/ 0 w 3258"/>
                <a:gd name="T1" fmla="*/ 0 h 4319"/>
                <a:gd name="T2" fmla="*/ 1739 w 3258"/>
                <a:gd name="T3" fmla="*/ 0 h 4319"/>
                <a:gd name="T4" fmla="*/ 2581 w 3258"/>
                <a:gd name="T5" fmla="*/ 699 h 4319"/>
                <a:gd name="T6" fmla="*/ 3258 w 3258"/>
                <a:gd name="T7" fmla="*/ 1888 h 4319"/>
                <a:gd name="T8" fmla="*/ 2643 w 3258"/>
                <a:gd name="T9" fmla="*/ 4319 h 4319"/>
                <a:gd name="T10" fmla="*/ 0 w 3258"/>
                <a:gd name="T11" fmla="*/ 4319 h 4319"/>
                <a:gd name="T12" fmla="*/ 0 w 3258"/>
                <a:gd name="T13" fmla="*/ 0 h 4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58" h="4319">
                  <a:moveTo>
                    <a:pt x="0" y="0"/>
                  </a:moveTo>
                  <a:lnTo>
                    <a:pt x="1739" y="0"/>
                  </a:lnTo>
                  <a:lnTo>
                    <a:pt x="2581" y="699"/>
                  </a:lnTo>
                  <a:lnTo>
                    <a:pt x="3258" y="1888"/>
                  </a:lnTo>
                  <a:lnTo>
                    <a:pt x="2643" y="4319"/>
                  </a:lnTo>
                  <a:lnTo>
                    <a:pt x="0" y="431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C20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" name="Freeform 6">
              <a:extLst>
                <a:ext uri="{FF2B5EF4-FFF2-40B4-BE49-F238E27FC236}">
                  <a16:creationId xmlns:a16="http://schemas.microsoft.com/office/drawing/2014/main" id="{D5F6BC5B-6F1D-4B20-9A7D-BB5D8783B359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0663" y="1588"/>
              <a:ext cx="1336675" cy="1109662"/>
            </a:xfrm>
            <a:custGeom>
              <a:avLst/>
              <a:gdLst>
                <a:gd name="T0" fmla="*/ 842 w 842"/>
                <a:gd name="T1" fmla="*/ 699 h 699"/>
                <a:gd name="T2" fmla="*/ 443 w 842"/>
                <a:gd name="T3" fmla="*/ 0 h 699"/>
                <a:gd name="T4" fmla="*/ 0 w 842"/>
                <a:gd name="T5" fmla="*/ 0 h 699"/>
                <a:gd name="T6" fmla="*/ 842 w 842"/>
                <a:gd name="T7" fmla="*/ 699 h 6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42" h="699">
                  <a:moveTo>
                    <a:pt x="842" y="699"/>
                  </a:moveTo>
                  <a:lnTo>
                    <a:pt x="443" y="0"/>
                  </a:lnTo>
                  <a:lnTo>
                    <a:pt x="0" y="0"/>
                  </a:lnTo>
                  <a:lnTo>
                    <a:pt x="842" y="699"/>
                  </a:lnTo>
                  <a:close/>
                </a:path>
              </a:pathLst>
            </a:custGeom>
            <a:solidFill>
              <a:srgbClr val="F9AC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" name="Freeform 7">
              <a:extLst>
                <a:ext uri="{FF2B5EF4-FFF2-40B4-BE49-F238E27FC236}">
                  <a16:creationId xmlns:a16="http://schemas.microsoft.com/office/drawing/2014/main" id="{81AE8D94-B6B9-44B3-B158-8DD8BD7358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9412" y="1588"/>
              <a:ext cx="1306513" cy="1670050"/>
            </a:xfrm>
            <a:custGeom>
              <a:avLst/>
              <a:gdLst>
                <a:gd name="T0" fmla="*/ 0 w 823"/>
                <a:gd name="T1" fmla="*/ 0 h 1052"/>
                <a:gd name="T2" fmla="*/ 399 w 823"/>
                <a:gd name="T3" fmla="*/ 699 h 1052"/>
                <a:gd name="T4" fmla="*/ 823 w 823"/>
                <a:gd name="T5" fmla="*/ 1052 h 1052"/>
                <a:gd name="T6" fmla="*/ 531 w 823"/>
                <a:gd name="T7" fmla="*/ 0 h 1052"/>
                <a:gd name="T8" fmla="*/ 0 w 823"/>
                <a:gd name="T9" fmla="*/ 0 h 10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23" h="1052">
                  <a:moveTo>
                    <a:pt x="0" y="0"/>
                  </a:moveTo>
                  <a:lnTo>
                    <a:pt x="399" y="699"/>
                  </a:lnTo>
                  <a:lnTo>
                    <a:pt x="823" y="1052"/>
                  </a:lnTo>
                  <a:lnTo>
                    <a:pt x="53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47D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Freeform 8">
              <a:extLst>
                <a:ext uri="{FF2B5EF4-FFF2-40B4-BE49-F238E27FC236}">
                  <a16:creationId xmlns:a16="http://schemas.microsoft.com/office/drawing/2014/main" id="{E47811C8-8003-46E0-91ED-FA505E768AB2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7338" y="1111250"/>
              <a:ext cx="1009650" cy="1774825"/>
            </a:xfrm>
            <a:custGeom>
              <a:avLst/>
              <a:gdLst>
                <a:gd name="T0" fmla="*/ 424 w 636"/>
                <a:gd name="T1" fmla="*/ 353 h 1118"/>
                <a:gd name="T2" fmla="*/ 0 w 636"/>
                <a:gd name="T3" fmla="*/ 0 h 1118"/>
                <a:gd name="T4" fmla="*/ 636 w 636"/>
                <a:gd name="T5" fmla="*/ 1118 h 1118"/>
                <a:gd name="T6" fmla="*/ 424 w 636"/>
                <a:gd name="T7" fmla="*/ 353 h 1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36" h="1118">
                  <a:moveTo>
                    <a:pt x="424" y="353"/>
                  </a:moveTo>
                  <a:lnTo>
                    <a:pt x="0" y="0"/>
                  </a:lnTo>
                  <a:lnTo>
                    <a:pt x="636" y="1118"/>
                  </a:lnTo>
                  <a:lnTo>
                    <a:pt x="424" y="353"/>
                  </a:lnTo>
                  <a:close/>
                </a:path>
              </a:pathLst>
            </a:custGeom>
            <a:solidFill>
              <a:srgbClr val="F155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" name="Freeform 9">
              <a:extLst>
                <a:ext uri="{FF2B5EF4-FFF2-40B4-BE49-F238E27FC236}">
                  <a16:creationId xmlns:a16="http://schemas.microsoft.com/office/drawing/2014/main" id="{AED6DD98-B107-4A15-8DD3-981C6FC93B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0438" y="1671638"/>
              <a:ext cx="750888" cy="1327150"/>
            </a:xfrm>
            <a:custGeom>
              <a:avLst/>
              <a:gdLst>
                <a:gd name="T0" fmla="*/ 0 w 473"/>
                <a:gd name="T1" fmla="*/ 0 h 836"/>
                <a:gd name="T2" fmla="*/ 212 w 473"/>
                <a:gd name="T3" fmla="*/ 765 h 836"/>
                <a:gd name="T4" fmla="*/ 253 w 473"/>
                <a:gd name="T5" fmla="*/ 836 h 836"/>
                <a:gd name="T6" fmla="*/ 473 w 473"/>
                <a:gd name="T7" fmla="*/ 393 h 836"/>
                <a:gd name="T8" fmla="*/ 0 w 473"/>
                <a:gd name="T9" fmla="*/ 0 h 8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3" h="836">
                  <a:moveTo>
                    <a:pt x="0" y="0"/>
                  </a:moveTo>
                  <a:lnTo>
                    <a:pt x="212" y="765"/>
                  </a:lnTo>
                  <a:lnTo>
                    <a:pt x="253" y="836"/>
                  </a:lnTo>
                  <a:lnTo>
                    <a:pt x="473" y="39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9AC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10">
              <a:extLst>
                <a:ext uri="{FF2B5EF4-FFF2-40B4-BE49-F238E27FC236}">
                  <a16:creationId xmlns:a16="http://schemas.microsoft.com/office/drawing/2014/main" id="{B8D85966-5373-4D66-B1BA-96D52CE14BD8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9701" y="3040063"/>
              <a:ext cx="1412875" cy="2417762"/>
            </a:xfrm>
            <a:custGeom>
              <a:avLst/>
              <a:gdLst>
                <a:gd name="T0" fmla="*/ 756 w 890"/>
                <a:gd name="T1" fmla="*/ 0 h 1523"/>
                <a:gd name="T2" fmla="*/ 0 w 890"/>
                <a:gd name="T3" fmla="*/ 1523 h 1523"/>
                <a:gd name="T4" fmla="*/ 890 w 890"/>
                <a:gd name="T5" fmla="*/ 477 h 1523"/>
                <a:gd name="T6" fmla="*/ 756 w 890"/>
                <a:gd name="T7" fmla="*/ 0 h 1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90" h="1523">
                  <a:moveTo>
                    <a:pt x="756" y="0"/>
                  </a:moveTo>
                  <a:lnTo>
                    <a:pt x="0" y="1523"/>
                  </a:lnTo>
                  <a:lnTo>
                    <a:pt x="890" y="477"/>
                  </a:lnTo>
                  <a:lnTo>
                    <a:pt x="756" y="0"/>
                  </a:lnTo>
                  <a:close/>
                </a:path>
              </a:pathLst>
            </a:custGeom>
            <a:solidFill>
              <a:srgbClr val="F155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11">
              <a:extLst>
                <a:ext uri="{FF2B5EF4-FFF2-40B4-BE49-F238E27FC236}">
                  <a16:creationId xmlns:a16="http://schemas.microsoft.com/office/drawing/2014/main" id="{18D062D2-0195-437C-8BB7-AE8380543B4E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9093" y="2998788"/>
              <a:ext cx="371475" cy="798512"/>
            </a:xfrm>
            <a:custGeom>
              <a:avLst/>
              <a:gdLst>
                <a:gd name="T0" fmla="*/ 0 w 234"/>
                <a:gd name="T1" fmla="*/ 26 h 503"/>
                <a:gd name="T2" fmla="*/ 134 w 234"/>
                <a:gd name="T3" fmla="*/ 503 h 503"/>
                <a:gd name="T4" fmla="*/ 234 w 234"/>
                <a:gd name="T5" fmla="*/ 386 h 503"/>
                <a:gd name="T6" fmla="*/ 14 w 234"/>
                <a:gd name="T7" fmla="*/ 0 h 503"/>
                <a:gd name="T8" fmla="*/ 0 w 234"/>
                <a:gd name="T9" fmla="*/ 26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4" h="503">
                  <a:moveTo>
                    <a:pt x="0" y="26"/>
                  </a:moveTo>
                  <a:lnTo>
                    <a:pt x="134" y="503"/>
                  </a:lnTo>
                  <a:lnTo>
                    <a:pt x="234" y="386"/>
                  </a:lnTo>
                  <a:lnTo>
                    <a:pt x="14" y="0"/>
                  </a:lnTo>
                  <a:lnTo>
                    <a:pt x="0" y="26"/>
                  </a:lnTo>
                  <a:close/>
                </a:path>
              </a:pathLst>
            </a:custGeom>
            <a:solidFill>
              <a:srgbClr val="D025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12">
              <a:extLst>
                <a:ext uri="{FF2B5EF4-FFF2-40B4-BE49-F238E27FC236}">
                  <a16:creationId xmlns:a16="http://schemas.microsoft.com/office/drawing/2014/main" id="{C5EE8B3A-CADD-49C2-9403-07D1EBAD0A94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4376" y="3797300"/>
              <a:ext cx="2266950" cy="3060700"/>
            </a:xfrm>
            <a:custGeom>
              <a:avLst/>
              <a:gdLst>
                <a:gd name="T0" fmla="*/ 1328 w 1428"/>
                <a:gd name="T1" fmla="*/ 0 h 1928"/>
                <a:gd name="T2" fmla="*/ 438 w 1428"/>
                <a:gd name="T3" fmla="*/ 1046 h 1928"/>
                <a:gd name="T4" fmla="*/ 0 w 1428"/>
                <a:gd name="T5" fmla="*/ 1928 h 1928"/>
                <a:gd name="T6" fmla="*/ 593 w 1428"/>
                <a:gd name="T7" fmla="*/ 1928 h 1928"/>
                <a:gd name="T8" fmla="*/ 1428 w 1428"/>
                <a:gd name="T9" fmla="*/ 363 h 1928"/>
                <a:gd name="T10" fmla="*/ 1328 w 1428"/>
                <a:gd name="T11" fmla="*/ 0 h 19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28" h="1928">
                  <a:moveTo>
                    <a:pt x="1328" y="0"/>
                  </a:moveTo>
                  <a:lnTo>
                    <a:pt x="438" y="1046"/>
                  </a:lnTo>
                  <a:lnTo>
                    <a:pt x="0" y="1928"/>
                  </a:lnTo>
                  <a:lnTo>
                    <a:pt x="593" y="1928"/>
                  </a:lnTo>
                  <a:lnTo>
                    <a:pt x="1428" y="363"/>
                  </a:lnTo>
                  <a:lnTo>
                    <a:pt x="1328" y="0"/>
                  </a:lnTo>
                  <a:close/>
                </a:path>
              </a:pathLst>
            </a:custGeom>
            <a:solidFill>
              <a:srgbClr val="931A1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13">
              <a:extLst>
                <a:ext uri="{FF2B5EF4-FFF2-40B4-BE49-F238E27FC236}">
                  <a16:creationId xmlns:a16="http://schemas.microsoft.com/office/drawing/2014/main" id="{F98BA4DA-1EF5-42FB-AFCF-0A022574E8B6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0663" y="5457825"/>
              <a:ext cx="1189038" cy="1400175"/>
            </a:xfrm>
            <a:custGeom>
              <a:avLst/>
              <a:gdLst>
                <a:gd name="T0" fmla="*/ 311 w 749"/>
                <a:gd name="T1" fmla="*/ 882 h 882"/>
                <a:gd name="T2" fmla="*/ 749 w 749"/>
                <a:gd name="T3" fmla="*/ 0 h 882"/>
                <a:gd name="T4" fmla="*/ 0 w 749"/>
                <a:gd name="T5" fmla="*/ 882 h 882"/>
                <a:gd name="T6" fmla="*/ 311 w 749"/>
                <a:gd name="T7" fmla="*/ 882 h 8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49" h="882">
                  <a:moveTo>
                    <a:pt x="311" y="882"/>
                  </a:moveTo>
                  <a:lnTo>
                    <a:pt x="749" y="0"/>
                  </a:lnTo>
                  <a:lnTo>
                    <a:pt x="0" y="882"/>
                  </a:lnTo>
                  <a:lnTo>
                    <a:pt x="311" y="882"/>
                  </a:lnTo>
                  <a:close/>
                </a:path>
              </a:pathLst>
            </a:custGeom>
            <a:solidFill>
              <a:srgbClr val="F47D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7CFEFF7C-FC8E-4E69-9F52-660BCFDAC4D1}"/>
              </a:ext>
            </a:extLst>
          </p:cNvPr>
          <p:cNvGrpSpPr>
            <a:grpSpLocks/>
          </p:cNvGrpSpPr>
          <p:nvPr/>
        </p:nvGrpSpPr>
        <p:grpSpPr>
          <a:xfrm>
            <a:off x="6253390" y="1873690"/>
            <a:ext cx="2445002" cy="586989"/>
            <a:chOff x="4124325" y="4591050"/>
            <a:chExt cx="2479675" cy="595313"/>
          </a:xfrm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83154726-4EE4-47ED-A212-50F7CAB11B26}"/>
                </a:ext>
              </a:extLst>
            </p:cNvPr>
            <p:cNvGrpSpPr/>
            <p:nvPr/>
          </p:nvGrpSpPr>
          <p:grpSpPr>
            <a:xfrm>
              <a:off x="4124325" y="4591050"/>
              <a:ext cx="460375" cy="595313"/>
              <a:chOff x="4124325" y="4591050"/>
              <a:chExt cx="460375" cy="595313"/>
            </a:xfrm>
          </p:grpSpPr>
          <p:sp>
            <p:nvSpPr>
              <p:cNvPr id="16" name="Freeform 25">
                <a:extLst>
                  <a:ext uri="{FF2B5EF4-FFF2-40B4-BE49-F238E27FC236}">
                    <a16:creationId xmlns:a16="http://schemas.microsoft.com/office/drawing/2014/main" id="{FBC573F0-0275-4D44-B3FE-D08A0F184F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4325" y="4983163"/>
                <a:ext cx="457200" cy="203200"/>
              </a:xfrm>
              <a:custGeom>
                <a:avLst/>
                <a:gdLst>
                  <a:gd name="T0" fmla="*/ 143 w 288"/>
                  <a:gd name="T1" fmla="*/ 66 h 128"/>
                  <a:gd name="T2" fmla="*/ 228 w 288"/>
                  <a:gd name="T3" fmla="*/ 23 h 128"/>
                  <a:gd name="T4" fmla="*/ 283 w 288"/>
                  <a:gd name="T5" fmla="*/ 0 h 128"/>
                  <a:gd name="T6" fmla="*/ 288 w 288"/>
                  <a:gd name="T7" fmla="*/ 3 h 128"/>
                  <a:gd name="T8" fmla="*/ 283 w 288"/>
                  <a:gd name="T9" fmla="*/ 62 h 128"/>
                  <a:gd name="T10" fmla="*/ 156 w 288"/>
                  <a:gd name="T11" fmla="*/ 128 h 128"/>
                  <a:gd name="T12" fmla="*/ 131 w 288"/>
                  <a:gd name="T13" fmla="*/ 128 h 128"/>
                  <a:gd name="T14" fmla="*/ 4 w 288"/>
                  <a:gd name="T15" fmla="*/ 62 h 128"/>
                  <a:gd name="T16" fmla="*/ 0 w 288"/>
                  <a:gd name="T17" fmla="*/ 3 h 128"/>
                  <a:gd name="T18" fmla="*/ 4 w 288"/>
                  <a:gd name="T19" fmla="*/ 0 h 128"/>
                  <a:gd name="T20" fmla="*/ 59 w 288"/>
                  <a:gd name="T21" fmla="*/ 23 h 128"/>
                  <a:gd name="T22" fmla="*/ 143 w 288"/>
                  <a:gd name="T23" fmla="*/ 66 h 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88" h="128">
                    <a:moveTo>
                      <a:pt x="143" y="66"/>
                    </a:moveTo>
                    <a:lnTo>
                      <a:pt x="228" y="23"/>
                    </a:lnTo>
                    <a:lnTo>
                      <a:pt x="283" y="0"/>
                    </a:lnTo>
                    <a:lnTo>
                      <a:pt x="288" y="3"/>
                    </a:lnTo>
                    <a:lnTo>
                      <a:pt x="283" y="62"/>
                    </a:lnTo>
                    <a:lnTo>
                      <a:pt x="156" y="128"/>
                    </a:lnTo>
                    <a:lnTo>
                      <a:pt x="131" y="128"/>
                    </a:lnTo>
                    <a:lnTo>
                      <a:pt x="4" y="62"/>
                    </a:lnTo>
                    <a:lnTo>
                      <a:pt x="0" y="3"/>
                    </a:lnTo>
                    <a:lnTo>
                      <a:pt x="4" y="0"/>
                    </a:lnTo>
                    <a:lnTo>
                      <a:pt x="59" y="23"/>
                    </a:lnTo>
                    <a:lnTo>
                      <a:pt x="143" y="66"/>
                    </a:lnTo>
                    <a:close/>
                  </a:path>
                </a:pathLst>
              </a:custGeom>
              <a:solidFill>
                <a:srgbClr val="F155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Freeform 26">
                <a:extLst>
                  <a:ext uri="{FF2B5EF4-FFF2-40B4-BE49-F238E27FC236}">
                    <a16:creationId xmlns:a16="http://schemas.microsoft.com/office/drawing/2014/main" id="{D6F1A854-E92E-48CA-ADAD-585911B0CE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4325" y="4689475"/>
                <a:ext cx="457200" cy="403225"/>
              </a:xfrm>
              <a:custGeom>
                <a:avLst/>
                <a:gdLst>
                  <a:gd name="T0" fmla="*/ 288 w 288"/>
                  <a:gd name="T1" fmla="*/ 188 h 254"/>
                  <a:gd name="T2" fmla="*/ 283 w 288"/>
                  <a:gd name="T3" fmla="*/ 247 h 254"/>
                  <a:gd name="T4" fmla="*/ 270 w 288"/>
                  <a:gd name="T5" fmla="*/ 254 h 254"/>
                  <a:gd name="T6" fmla="*/ 0 w 288"/>
                  <a:gd name="T7" fmla="*/ 17 h 254"/>
                  <a:gd name="T8" fmla="*/ 0 w 288"/>
                  <a:gd name="T9" fmla="*/ 11 h 254"/>
                  <a:gd name="T10" fmla="*/ 72 w 288"/>
                  <a:gd name="T11" fmla="*/ 0 h 254"/>
                  <a:gd name="T12" fmla="*/ 288 w 288"/>
                  <a:gd name="T13" fmla="*/ 188 h 2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8" h="254">
                    <a:moveTo>
                      <a:pt x="288" y="188"/>
                    </a:moveTo>
                    <a:lnTo>
                      <a:pt x="283" y="247"/>
                    </a:lnTo>
                    <a:lnTo>
                      <a:pt x="270" y="254"/>
                    </a:lnTo>
                    <a:lnTo>
                      <a:pt x="0" y="17"/>
                    </a:lnTo>
                    <a:lnTo>
                      <a:pt x="0" y="11"/>
                    </a:lnTo>
                    <a:lnTo>
                      <a:pt x="72" y="0"/>
                    </a:lnTo>
                    <a:lnTo>
                      <a:pt x="288" y="188"/>
                    </a:lnTo>
                    <a:close/>
                  </a:path>
                </a:pathLst>
              </a:custGeom>
              <a:solidFill>
                <a:srgbClr val="BC202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Freeform 27">
                <a:extLst>
                  <a:ext uri="{FF2B5EF4-FFF2-40B4-BE49-F238E27FC236}">
                    <a16:creationId xmlns:a16="http://schemas.microsoft.com/office/drawing/2014/main" id="{B27D6C3A-FC76-42D5-BEB4-A0761B45A8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4325" y="4867275"/>
                <a:ext cx="209550" cy="225425"/>
              </a:xfrm>
              <a:custGeom>
                <a:avLst/>
                <a:gdLst>
                  <a:gd name="T0" fmla="*/ 17 w 132"/>
                  <a:gd name="T1" fmla="*/ 142 h 142"/>
                  <a:gd name="T2" fmla="*/ 4 w 132"/>
                  <a:gd name="T3" fmla="*/ 135 h 142"/>
                  <a:gd name="T4" fmla="*/ 0 w 132"/>
                  <a:gd name="T5" fmla="*/ 76 h 142"/>
                  <a:gd name="T6" fmla="*/ 86 w 132"/>
                  <a:gd name="T7" fmla="*/ 0 h 142"/>
                  <a:gd name="T8" fmla="*/ 132 w 132"/>
                  <a:gd name="T9" fmla="*/ 41 h 142"/>
                  <a:gd name="T10" fmla="*/ 17 w 132"/>
                  <a:gd name="T11" fmla="*/ 142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2" h="142">
                    <a:moveTo>
                      <a:pt x="17" y="142"/>
                    </a:moveTo>
                    <a:lnTo>
                      <a:pt x="4" y="135"/>
                    </a:lnTo>
                    <a:lnTo>
                      <a:pt x="0" y="76"/>
                    </a:lnTo>
                    <a:lnTo>
                      <a:pt x="86" y="0"/>
                    </a:lnTo>
                    <a:lnTo>
                      <a:pt x="132" y="41"/>
                    </a:lnTo>
                    <a:lnTo>
                      <a:pt x="17" y="142"/>
                    </a:lnTo>
                    <a:close/>
                  </a:path>
                </a:pathLst>
              </a:custGeom>
              <a:solidFill>
                <a:srgbClr val="931A1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Freeform 28">
                <a:extLst>
                  <a:ext uri="{FF2B5EF4-FFF2-40B4-BE49-F238E27FC236}">
                    <a16:creationId xmlns:a16="http://schemas.microsoft.com/office/drawing/2014/main" id="{D9ECE05A-6B6C-47CA-93CA-AA9BA2885C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4325" y="4591050"/>
                <a:ext cx="381000" cy="130175"/>
              </a:xfrm>
              <a:custGeom>
                <a:avLst/>
                <a:gdLst>
                  <a:gd name="T0" fmla="*/ 143 w 240"/>
                  <a:gd name="T1" fmla="*/ 60 h 82"/>
                  <a:gd name="T2" fmla="*/ 3 w 240"/>
                  <a:gd name="T3" fmla="*/ 82 h 82"/>
                  <a:gd name="T4" fmla="*/ 0 w 240"/>
                  <a:gd name="T5" fmla="*/ 79 h 82"/>
                  <a:gd name="T6" fmla="*/ 4 w 240"/>
                  <a:gd name="T7" fmla="*/ 21 h 82"/>
                  <a:gd name="T8" fmla="*/ 139 w 240"/>
                  <a:gd name="T9" fmla="*/ 0 h 82"/>
                  <a:gd name="T10" fmla="*/ 147 w 240"/>
                  <a:gd name="T11" fmla="*/ 0 h 82"/>
                  <a:gd name="T12" fmla="*/ 240 w 240"/>
                  <a:gd name="T13" fmla="*/ 14 h 82"/>
                  <a:gd name="T14" fmla="*/ 240 w 240"/>
                  <a:gd name="T15" fmla="*/ 76 h 82"/>
                  <a:gd name="T16" fmla="*/ 143 w 240"/>
                  <a:gd name="T17" fmla="*/ 60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40" h="82">
                    <a:moveTo>
                      <a:pt x="143" y="60"/>
                    </a:moveTo>
                    <a:lnTo>
                      <a:pt x="3" y="82"/>
                    </a:lnTo>
                    <a:lnTo>
                      <a:pt x="0" y="79"/>
                    </a:lnTo>
                    <a:lnTo>
                      <a:pt x="4" y="21"/>
                    </a:lnTo>
                    <a:lnTo>
                      <a:pt x="139" y="0"/>
                    </a:lnTo>
                    <a:lnTo>
                      <a:pt x="147" y="0"/>
                    </a:lnTo>
                    <a:lnTo>
                      <a:pt x="240" y="14"/>
                    </a:lnTo>
                    <a:lnTo>
                      <a:pt x="240" y="76"/>
                    </a:lnTo>
                    <a:lnTo>
                      <a:pt x="143" y="60"/>
                    </a:lnTo>
                    <a:close/>
                  </a:path>
                </a:pathLst>
              </a:custGeom>
              <a:solidFill>
                <a:srgbClr val="F47D6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Freeform 29">
                <a:extLst>
                  <a:ext uri="{FF2B5EF4-FFF2-40B4-BE49-F238E27FC236}">
                    <a16:creationId xmlns:a16="http://schemas.microsoft.com/office/drawing/2014/main" id="{4917CDE8-FDCC-43E0-86B9-E34AEB4793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89450" y="4610100"/>
                <a:ext cx="95250" cy="207962"/>
              </a:xfrm>
              <a:custGeom>
                <a:avLst/>
                <a:gdLst>
                  <a:gd name="T0" fmla="*/ 0 w 60"/>
                  <a:gd name="T1" fmla="*/ 131 h 131"/>
                  <a:gd name="T2" fmla="*/ 0 w 60"/>
                  <a:gd name="T3" fmla="*/ 0 h 131"/>
                  <a:gd name="T4" fmla="*/ 37 w 60"/>
                  <a:gd name="T5" fmla="*/ 6 h 131"/>
                  <a:gd name="T6" fmla="*/ 60 w 60"/>
                  <a:gd name="T7" fmla="*/ 34 h 131"/>
                  <a:gd name="T8" fmla="*/ 60 w 60"/>
                  <a:gd name="T9" fmla="*/ 106 h 131"/>
                  <a:gd name="T10" fmla="*/ 0 w 60"/>
                  <a:gd name="T11" fmla="*/ 131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0" h="131">
                    <a:moveTo>
                      <a:pt x="0" y="131"/>
                    </a:moveTo>
                    <a:lnTo>
                      <a:pt x="0" y="0"/>
                    </a:lnTo>
                    <a:lnTo>
                      <a:pt x="37" y="6"/>
                    </a:lnTo>
                    <a:lnTo>
                      <a:pt x="60" y="34"/>
                    </a:lnTo>
                    <a:lnTo>
                      <a:pt x="60" y="106"/>
                    </a:lnTo>
                    <a:lnTo>
                      <a:pt x="0" y="131"/>
                    </a:lnTo>
                    <a:close/>
                  </a:path>
                </a:pathLst>
              </a:custGeom>
              <a:solidFill>
                <a:srgbClr val="F9AC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Freeform 30">
                <a:extLst>
                  <a:ext uri="{FF2B5EF4-FFF2-40B4-BE49-F238E27FC236}">
                    <a16:creationId xmlns:a16="http://schemas.microsoft.com/office/drawing/2014/main" id="{D61F04B0-0841-41C9-B561-3CA1B1AF6B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65638" y="4606925"/>
                <a:ext cx="23812" cy="100012"/>
              </a:xfrm>
              <a:custGeom>
                <a:avLst/>
                <a:gdLst>
                  <a:gd name="T0" fmla="*/ 0 w 15"/>
                  <a:gd name="T1" fmla="*/ 61 h 63"/>
                  <a:gd name="T2" fmla="*/ 15 w 15"/>
                  <a:gd name="T3" fmla="*/ 63 h 63"/>
                  <a:gd name="T4" fmla="*/ 15 w 15"/>
                  <a:gd name="T5" fmla="*/ 2 h 63"/>
                  <a:gd name="T6" fmla="*/ 0 w 15"/>
                  <a:gd name="T7" fmla="*/ 0 h 63"/>
                  <a:gd name="T8" fmla="*/ 0 w 15"/>
                  <a:gd name="T9" fmla="*/ 61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63">
                    <a:moveTo>
                      <a:pt x="0" y="61"/>
                    </a:moveTo>
                    <a:lnTo>
                      <a:pt x="15" y="63"/>
                    </a:lnTo>
                    <a:lnTo>
                      <a:pt x="15" y="2"/>
                    </a:lnTo>
                    <a:lnTo>
                      <a:pt x="0" y="0"/>
                    </a:lnTo>
                    <a:lnTo>
                      <a:pt x="0" y="61"/>
                    </a:lnTo>
                    <a:close/>
                  </a:path>
                </a:pathLst>
              </a:custGeom>
              <a:solidFill>
                <a:srgbClr val="F155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Freeform 31">
                <a:extLst>
                  <a:ext uri="{FF2B5EF4-FFF2-40B4-BE49-F238E27FC236}">
                    <a16:creationId xmlns:a16="http://schemas.microsoft.com/office/drawing/2014/main" id="{9928F9A3-D252-4C81-BABE-2441EBCA55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9088" y="4702175"/>
                <a:ext cx="147637" cy="39687"/>
              </a:xfrm>
              <a:custGeom>
                <a:avLst/>
                <a:gdLst>
                  <a:gd name="T0" fmla="*/ 15 w 93"/>
                  <a:gd name="T1" fmla="*/ 25 h 25"/>
                  <a:gd name="T2" fmla="*/ 93 w 93"/>
                  <a:gd name="T3" fmla="*/ 13 h 25"/>
                  <a:gd name="T4" fmla="*/ 78 w 93"/>
                  <a:gd name="T5" fmla="*/ 0 h 25"/>
                  <a:gd name="T6" fmla="*/ 0 w 93"/>
                  <a:gd name="T7" fmla="*/ 12 h 25"/>
                  <a:gd name="T8" fmla="*/ 15 w 93"/>
                  <a:gd name="T9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3" h="25">
                    <a:moveTo>
                      <a:pt x="15" y="25"/>
                    </a:moveTo>
                    <a:lnTo>
                      <a:pt x="93" y="13"/>
                    </a:lnTo>
                    <a:lnTo>
                      <a:pt x="78" y="0"/>
                    </a:lnTo>
                    <a:lnTo>
                      <a:pt x="0" y="12"/>
                    </a:lnTo>
                    <a:lnTo>
                      <a:pt x="15" y="25"/>
                    </a:lnTo>
                    <a:close/>
                  </a:path>
                </a:pathLst>
              </a:custGeom>
              <a:solidFill>
                <a:srgbClr val="931A1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Freeform 32">
                <a:extLst>
                  <a:ext uri="{FF2B5EF4-FFF2-40B4-BE49-F238E27FC236}">
                    <a16:creationId xmlns:a16="http://schemas.microsoft.com/office/drawing/2014/main" id="{F57CFECC-B4AE-48B4-A350-93952ED9EC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52938" y="5022850"/>
                <a:ext cx="100012" cy="79375"/>
              </a:xfrm>
              <a:custGeom>
                <a:avLst/>
                <a:gdLst>
                  <a:gd name="T0" fmla="*/ 63 w 63"/>
                  <a:gd name="T1" fmla="*/ 44 h 50"/>
                  <a:gd name="T2" fmla="*/ 15 w 63"/>
                  <a:gd name="T3" fmla="*/ 0 h 50"/>
                  <a:gd name="T4" fmla="*/ 0 w 63"/>
                  <a:gd name="T5" fmla="*/ 8 h 50"/>
                  <a:gd name="T6" fmla="*/ 49 w 63"/>
                  <a:gd name="T7" fmla="*/ 50 h 50"/>
                  <a:gd name="T8" fmla="*/ 63 w 63"/>
                  <a:gd name="T9" fmla="*/ 44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3" h="50">
                    <a:moveTo>
                      <a:pt x="63" y="44"/>
                    </a:moveTo>
                    <a:lnTo>
                      <a:pt x="15" y="0"/>
                    </a:lnTo>
                    <a:lnTo>
                      <a:pt x="0" y="8"/>
                    </a:lnTo>
                    <a:lnTo>
                      <a:pt x="49" y="50"/>
                    </a:lnTo>
                    <a:lnTo>
                      <a:pt x="63" y="44"/>
                    </a:lnTo>
                    <a:close/>
                  </a:path>
                </a:pathLst>
              </a:custGeom>
              <a:solidFill>
                <a:srgbClr val="D025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Freeform 33">
                <a:extLst>
                  <a:ext uri="{FF2B5EF4-FFF2-40B4-BE49-F238E27FC236}">
                    <a16:creationId xmlns:a16="http://schemas.microsoft.com/office/drawing/2014/main" id="{9FAFEC81-ABB6-4EC4-9D85-9826B23798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51313" y="5022850"/>
                <a:ext cx="100012" cy="79375"/>
              </a:xfrm>
              <a:custGeom>
                <a:avLst/>
                <a:gdLst>
                  <a:gd name="T0" fmla="*/ 0 w 63"/>
                  <a:gd name="T1" fmla="*/ 44 h 50"/>
                  <a:gd name="T2" fmla="*/ 14 w 63"/>
                  <a:gd name="T3" fmla="*/ 50 h 50"/>
                  <a:gd name="T4" fmla="*/ 63 w 63"/>
                  <a:gd name="T5" fmla="*/ 8 h 50"/>
                  <a:gd name="T6" fmla="*/ 48 w 63"/>
                  <a:gd name="T7" fmla="*/ 0 h 50"/>
                  <a:gd name="T8" fmla="*/ 0 w 63"/>
                  <a:gd name="T9" fmla="*/ 44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3" h="50">
                    <a:moveTo>
                      <a:pt x="0" y="44"/>
                    </a:moveTo>
                    <a:lnTo>
                      <a:pt x="14" y="50"/>
                    </a:lnTo>
                    <a:lnTo>
                      <a:pt x="63" y="8"/>
                    </a:lnTo>
                    <a:lnTo>
                      <a:pt x="48" y="0"/>
                    </a:lnTo>
                    <a:lnTo>
                      <a:pt x="0" y="44"/>
                    </a:lnTo>
                    <a:close/>
                  </a:path>
                </a:pathLst>
              </a:custGeom>
              <a:solidFill>
                <a:srgbClr val="D025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5" name="Freeform 34">
              <a:extLst>
                <a:ext uri="{FF2B5EF4-FFF2-40B4-BE49-F238E27FC236}">
                  <a16:creationId xmlns:a16="http://schemas.microsoft.com/office/drawing/2014/main" id="{DBDFE334-6299-4A00-9068-2E49EE089B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73625" y="4746625"/>
              <a:ext cx="1730375" cy="284162"/>
            </a:xfrm>
            <a:custGeom>
              <a:avLst/>
              <a:gdLst>
                <a:gd name="T0" fmla="*/ 1399 w 1571"/>
                <a:gd name="T1" fmla="*/ 170 h 257"/>
                <a:gd name="T2" fmla="*/ 1505 w 1571"/>
                <a:gd name="T3" fmla="*/ 170 h 257"/>
                <a:gd name="T4" fmla="*/ 1471 w 1571"/>
                <a:gd name="T5" fmla="*/ 4 h 257"/>
                <a:gd name="T6" fmla="*/ 1333 w 1571"/>
                <a:gd name="T7" fmla="*/ 252 h 257"/>
                <a:gd name="T8" fmla="*/ 1390 w 1571"/>
                <a:gd name="T9" fmla="*/ 197 h 257"/>
                <a:gd name="T10" fmla="*/ 1536 w 1571"/>
                <a:gd name="T11" fmla="*/ 252 h 257"/>
                <a:gd name="T12" fmla="*/ 1208 w 1571"/>
                <a:gd name="T13" fmla="*/ 252 h 257"/>
                <a:gd name="T14" fmla="*/ 1287 w 1571"/>
                <a:gd name="T15" fmla="*/ 31 h 257"/>
                <a:gd name="T16" fmla="*/ 1098 w 1571"/>
                <a:gd name="T17" fmla="*/ 4 h 257"/>
                <a:gd name="T18" fmla="*/ 1177 w 1571"/>
                <a:gd name="T19" fmla="*/ 31 h 257"/>
                <a:gd name="T20" fmla="*/ 1208 w 1571"/>
                <a:gd name="T21" fmla="*/ 252 h 257"/>
                <a:gd name="T22" fmla="*/ 867 w 1571"/>
                <a:gd name="T23" fmla="*/ 126 h 257"/>
                <a:gd name="T24" fmla="*/ 932 w 1571"/>
                <a:gd name="T25" fmla="*/ 31 h 257"/>
                <a:gd name="T26" fmla="*/ 932 w 1571"/>
                <a:gd name="T27" fmla="*/ 126 h 257"/>
                <a:gd name="T28" fmla="*/ 950 w 1571"/>
                <a:gd name="T29" fmla="*/ 151 h 257"/>
                <a:gd name="T30" fmla="*/ 936 w 1571"/>
                <a:gd name="T31" fmla="*/ 4 h 257"/>
                <a:gd name="T32" fmla="*/ 836 w 1571"/>
                <a:gd name="T33" fmla="*/ 252 h 257"/>
                <a:gd name="T34" fmla="*/ 867 w 1571"/>
                <a:gd name="T35" fmla="*/ 154 h 257"/>
                <a:gd name="T36" fmla="*/ 980 w 1571"/>
                <a:gd name="T37" fmla="*/ 252 h 257"/>
                <a:gd name="T38" fmla="*/ 681 w 1571"/>
                <a:gd name="T39" fmla="*/ 170 h 257"/>
                <a:gd name="T40" fmla="*/ 629 w 1571"/>
                <a:gd name="T41" fmla="*/ 36 h 257"/>
                <a:gd name="T42" fmla="*/ 748 w 1571"/>
                <a:gd name="T43" fmla="*/ 252 h 257"/>
                <a:gd name="T44" fmla="*/ 609 w 1571"/>
                <a:gd name="T45" fmla="*/ 4 h 257"/>
                <a:gd name="T46" fmla="*/ 545 w 1571"/>
                <a:gd name="T47" fmla="*/ 252 h 257"/>
                <a:gd name="T48" fmla="*/ 691 w 1571"/>
                <a:gd name="T49" fmla="*/ 197 h 257"/>
                <a:gd name="T50" fmla="*/ 748 w 1571"/>
                <a:gd name="T51" fmla="*/ 252 h 257"/>
                <a:gd name="T52" fmla="*/ 320 w 1571"/>
                <a:gd name="T53" fmla="*/ 126 h 257"/>
                <a:gd name="T54" fmla="*/ 385 w 1571"/>
                <a:gd name="T55" fmla="*/ 31 h 257"/>
                <a:gd name="T56" fmla="*/ 385 w 1571"/>
                <a:gd name="T57" fmla="*/ 126 h 257"/>
                <a:gd name="T58" fmla="*/ 320 w 1571"/>
                <a:gd name="T59" fmla="*/ 154 h 257"/>
                <a:gd name="T60" fmla="*/ 467 w 1571"/>
                <a:gd name="T61" fmla="*/ 79 h 257"/>
                <a:gd name="T62" fmla="*/ 289 w 1571"/>
                <a:gd name="T63" fmla="*/ 4 h 257"/>
                <a:gd name="T64" fmla="*/ 320 w 1571"/>
                <a:gd name="T65" fmla="*/ 252 h 257"/>
                <a:gd name="T66" fmla="*/ 187 w 1571"/>
                <a:gd name="T67" fmla="*/ 184 h 257"/>
                <a:gd name="T68" fmla="*/ 91 w 1571"/>
                <a:gd name="T69" fmla="*/ 28 h 257"/>
                <a:gd name="T70" fmla="*/ 181 w 1571"/>
                <a:gd name="T71" fmla="*/ 35 h 257"/>
                <a:gd name="T72" fmla="*/ 8 w 1571"/>
                <a:gd name="T73" fmla="*/ 69 h 257"/>
                <a:gd name="T74" fmla="*/ 97 w 1571"/>
                <a:gd name="T75" fmla="*/ 229 h 257"/>
                <a:gd name="T76" fmla="*/ 0 w 1571"/>
                <a:gd name="T77" fmla="*/ 217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571" h="257">
                  <a:moveTo>
                    <a:pt x="1505" y="170"/>
                  </a:moveTo>
                  <a:cubicBezTo>
                    <a:pt x="1399" y="170"/>
                    <a:pt x="1399" y="170"/>
                    <a:pt x="1399" y="170"/>
                  </a:cubicBezTo>
                  <a:cubicBezTo>
                    <a:pt x="1452" y="36"/>
                    <a:pt x="1452" y="36"/>
                    <a:pt x="1452" y="36"/>
                  </a:cubicBezTo>
                  <a:lnTo>
                    <a:pt x="1505" y="170"/>
                  </a:lnTo>
                  <a:close/>
                  <a:moveTo>
                    <a:pt x="1571" y="252"/>
                  </a:moveTo>
                  <a:cubicBezTo>
                    <a:pt x="1471" y="4"/>
                    <a:pt x="1471" y="4"/>
                    <a:pt x="1471" y="4"/>
                  </a:cubicBezTo>
                  <a:cubicBezTo>
                    <a:pt x="1433" y="4"/>
                    <a:pt x="1433" y="4"/>
                    <a:pt x="1433" y="4"/>
                  </a:cubicBezTo>
                  <a:cubicBezTo>
                    <a:pt x="1333" y="252"/>
                    <a:pt x="1333" y="252"/>
                    <a:pt x="1333" y="252"/>
                  </a:cubicBezTo>
                  <a:cubicBezTo>
                    <a:pt x="1368" y="252"/>
                    <a:pt x="1368" y="252"/>
                    <a:pt x="1368" y="252"/>
                  </a:cubicBezTo>
                  <a:cubicBezTo>
                    <a:pt x="1390" y="197"/>
                    <a:pt x="1390" y="197"/>
                    <a:pt x="1390" y="197"/>
                  </a:cubicBezTo>
                  <a:cubicBezTo>
                    <a:pt x="1514" y="197"/>
                    <a:pt x="1514" y="197"/>
                    <a:pt x="1514" y="197"/>
                  </a:cubicBezTo>
                  <a:cubicBezTo>
                    <a:pt x="1536" y="252"/>
                    <a:pt x="1536" y="252"/>
                    <a:pt x="1536" y="252"/>
                  </a:cubicBezTo>
                  <a:lnTo>
                    <a:pt x="1571" y="252"/>
                  </a:lnTo>
                  <a:close/>
                  <a:moveTo>
                    <a:pt x="1208" y="252"/>
                  </a:moveTo>
                  <a:cubicBezTo>
                    <a:pt x="1208" y="31"/>
                    <a:pt x="1208" y="31"/>
                    <a:pt x="1208" y="31"/>
                  </a:cubicBezTo>
                  <a:cubicBezTo>
                    <a:pt x="1287" y="31"/>
                    <a:pt x="1287" y="31"/>
                    <a:pt x="1287" y="31"/>
                  </a:cubicBezTo>
                  <a:cubicBezTo>
                    <a:pt x="1287" y="4"/>
                    <a:pt x="1287" y="4"/>
                    <a:pt x="1287" y="4"/>
                  </a:cubicBezTo>
                  <a:cubicBezTo>
                    <a:pt x="1098" y="4"/>
                    <a:pt x="1098" y="4"/>
                    <a:pt x="1098" y="4"/>
                  </a:cubicBezTo>
                  <a:cubicBezTo>
                    <a:pt x="1098" y="31"/>
                    <a:pt x="1098" y="31"/>
                    <a:pt x="1098" y="31"/>
                  </a:cubicBezTo>
                  <a:cubicBezTo>
                    <a:pt x="1177" y="31"/>
                    <a:pt x="1177" y="31"/>
                    <a:pt x="1177" y="31"/>
                  </a:cubicBezTo>
                  <a:cubicBezTo>
                    <a:pt x="1177" y="252"/>
                    <a:pt x="1177" y="252"/>
                    <a:pt x="1177" y="252"/>
                  </a:cubicBezTo>
                  <a:lnTo>
                    <a:pt x="1208" y="252"/>
                  </a:lnTo>
                  <a:close/>
                  <a:moveTo>
                    <a:pt x="932" y="126"/>
                  </a:moveTo>
                  <a:cubicBezTo>
                    <a:pt x="867" y="126"/>
                    <a:pt x="867" y="126"/>
                    <a:pt x="867" y="126"/>
                  </a:cubicBezTo>
                  <a:cubicBezTo>
                    <a:pt x="867" y="31"/>
                    <a:pt x="867" y="31"/>
                    <a:pt x="867" y="31"/>
                  </a:cubicBezTo>
                  <a:cubicBezTo>
                    <a:pt x="932" y="31"/>
                    <a:pt x="932" y="31"/>
                    <a:pt x="932" y="31"/>
                  </a:cubicBezTo>
                  <a:cubicBezTo>
                    <a:pt x="962" y="31"/>
                    <a:pt x="982" y="51"/>
                    <a:pt x="982" y="79"/>
                  </a:cubicBezTo>
                  <a:cubicBezTo>
                    <a:pt x="982" y="107"/>
                    <a:pt x="962" y="126"/>
                    <a:pt x="932" y="126"/>
                  </a:cubicBezTo>
                  <a:close/>
                  <a:moveTo>
                    <a:pt x="1017" y="252"/>
                  </a:moveTo>
                  <a:cubicBezTo>
                    <a:pt x="950" y="151"/>
                    <a:pt x="950" y="151"/>
                    <a:pt x="950" y="151"/>
                  </a:cubicBezTo>
                  <a:cubicBezTo>
                    <a:pt x="984" y="148"/>
                    <a:pt x="1014" y="123"/>
                    <a:pt x="1014" y="79"/>
                  </a:cubicBezTo>
                  <a:cubicBezTo>
                    <a:pt x="1014" y="33"/>
                    <a:pt x="982" y="4"/>
                    <a:pt x="936" y="4"/>
                  </a:cubicBezTo>
                  <a:cubicBezTo>
                    <a:pt x="836" y="4"/>
                    <a:pt x="836" y="4"/>
                    <a:pt x="836" y="4"/>
                  </a:cubicBezTo>
                  <a:cubicBezTo>
                    <a:pt x="836" y="252"/>
                    <a:pt x="836" y="252"/>
                    <a:pt x="836" y="252"/>
                  </a:cubicBezTo>
                  <a:cubicBezTo>
                    <a:pt x="867" y="252"/>
                    <a:pt x="867" y="252"/>
                    <a:pt x="867" y="252"/>
                  </a:cubicBezTo>
                  <a:cubicBezTo>
                    <a:pt x="867" y="154"/>
                    <a:pt x="867" y="154"/>
                    <a:pt x="867" y="154"/>
                  </a:cubicBezTo>
                  <a:cubicBezTo>
                    <a:pt x="917" y="154"/>
                    <a:pt x="917" y="154"/>
                    <a:pt x="917" y="154"/>
                  </a:cubicBezTo>
                  <a:cubicBezTo>
                    <a:pt x="980" y="252"/>
                    <a:pt x="980" y="252"/>
                    <a:pt x="980" y="252"/>
                  </a:cubicBezTo>
                  <a:lnTo>
                    <a:pt x="1017" y="252"/>
                  </a:lnTo>
                  <a:close/>
                  <a:moveTo>
                    <a:pt x="681" y="170"/>
                  </a:moveTo>
                  <a:cubicBezTo>
                    <a:pt x="576" y="170"/>
                    <a:pt x="576" y="170"/>
                    <a:pt x="576" y="170"/>
                  </a:cubicBezTo>
                  <a:cubicBezTo>
                    <a:pt x="629" y="36"/>
                    <a:pt x="629" y="36"/>
                    <a:pt x="629" y="36"/>
                  </a:cubicBezTo>
                  <a:lnTo>
                    <a:pt x="681" y="170"/>
                  </a:lnTo>
                  <a:close/>
                  <a:moveTo>
                    <a:pt x="748" y="252"/>
                  </a:moveTo>
                  <a:cubicBezTo>
                    <a:pt x="648" y="4"/>
                    <a:pt x="648" y="4"/>
                    <a:pt x="648" y="4"/>
                  </a:cubicBezTo>
                  <a:cubicBezTo>
                    <a:pt x="609" y="4"/>
                    <a:pt x="609" y="4"/>
                    <a:pt x="609" y="4"/>
                  </a:cubicBezTo>
                  <a:cubicBezTo>
                    <a:pt x="509" y="252"/>
                    <a:pt x="509" y="252"/>
                    <a:pt x="509" y="252"/>
                  </a:cubicBezTo>
                  <a:cubicBezTo>
                    <a:pt x="545" y="252"/>
                    <a:pt x="545" y="252"/>
                    <a:pt x="545" y="252"/>
                  </a:cubicBezTo>
                  <a:cubicBezTo>
                    <a:pt x="567" y="197"/>
                    <a:pt x="567" y="197"/>
                    <a:pt x="567" y="197"/>
                  </a:cubicBezTo>
                  <a:cubicBezTo>
                    <a:pt x="691" y="197"/>
                    <a:pt x="691" y="197"/>
                    <a:pt x="691" y="197"/>
                  </a:cubicBezTo>
                  <a:cubicBezTo>
                    <a:pt x="713" y="252"/>
                    <a:pt x="713" y="252"/>
                    <a:pt x="713" y="252"/>
                  </a:cubicBezTo>
                  <a:lnTo>
                    <a:pt x="748" y="252"/>
                  </a:lnTo>
                  <a:close/>
                  <a:moveTo>
                    <a:pt x="385" y="126"/>
                  </a:moveTo>
                  <a:cubicBezTo>
                    <a:pt x="320" y="126"/>
                    <a:pt x="320" y="126"/>
                    <a:pt x="320" y="126"/>
                  </a:cubicBezTo>
                  <a:cubicBezTo>
                    <a:pt x="320" y="31"/>
                    <a:pt x="320" y="31"/>
                    <a:pt x="320" y="31"/>
                  </a:cubicBezTo>
                  <a:cubicBezTo>
                    <a:pt x="385" y="31"/>
                    <a:pt x="385" y="31"/>
                    <a:pt x="385" y="31"/>
                  </a:cubicBezTo>
                  <a:cubicBezTo>
                    <a:pt x="415" y="31"/>
                    <a:pt x="435" y="51"/>
                    <a:pt x="435" y="79"/>
                  </a:cubicBezTo>
                  <a:cubicBezTo>
                    <a:pt x="435" y="107"/>
                    <a:pt x="415" y="126"/>
                    <a:pt x="385" y="126"/>
                  </a:cubicBezTo>
                  <a:close/>
                  <a:moveTo>
                    <a:pt x="320" y="252"/>
                  </a:moveTo>
                  <a:cubicBezTo>
                    <a:pt x="320" y="154"/>
                    <a:pt x="320" y="154"/>
                    <a:pt x="320" y="154"/>
                  </a:cubicBezTo>
                  <a:cubicBezTo>
                    <a:pt x="389" y="154"/>
                    <a:pt x="389" y="154"/>
                    <a:pt x="389" y="154"/>
                  </a:cubicBezTo>
                  <a:cubicBezTo>
                    <a:pt x="438" y="154"/>
                    <a:pt x="467" y="119"/>
                    <a:pt x="467" y="79"/>
                  </a:cubicBezTo>
                  <a:cubicBezTo>
                    <a:pt x="467" y="38"/>
                    <a:pt x="439" y="4"/>
                    <a:pt x="389" y="4"/>
                  </a:cubicBezTo>
                  <a:cubicBezTo>
                    <a:pt x="289" y="4"/>
                    <a:pt x="289" y="4"/>
                    <a:pt x="289" y="4"/>
                  </a:cubicBezTo>
                  <a:cubicBezTo>
                    <a:pt x="289" y="252"/>
                    <a:pt x="289" y="252"/>
                    <a:pt x="289" y="252"/>
                  </a:cubicBezTo>
                  <a:lnTo>
                    <a:pt x="320" y="252"/>
                  </a:lnTo>
                  <a:close/>
                  <a:moveTo>
                    <a:pt x="95" y="257"/>
                  </a:moveTo>
                  <a:cubicBezTo>
                    <a:pt x="162" y="257"/>
                    <a:pt x="187" y="220"/>
                    <a:pt x="187" y="184"/>
                  </a:cubicBezTo>
                  <a:cubicBezTo>
                    <a:pt x="187" y="91"/>
                    <a:pt x="40" y="123"/>
                    <a:pt x="40" y="67"/>
                  </a:cubicBezTo>
                  <a:cubicBezTo>
                    <a:pt x="40" y="44"/>
                    <a:pt x="61" y="28"/>
                    <a:pt x="91" y="28"/>
                  </a:cubicBezTo>
                  <a:cubicBezTo>
                    <a:pt x="118" y="28"/>
                    <a:pt x="144" y="37"/>
                    <a:pt x="163" y="57"/>
                  </a:cubicBezTo>
                  <a:cubicBezTo>
                    <a:pt x="181" y="35"/>
                    <a:pt x="181" y="35"/>
                    <a:pt x="181" y="35"/>
                  </a:cubicBezTo>
                  <a:cubicBezTo>
                    <a:pt x="161" y="13"/>
                    <a:pt x="131" y="0"/>
                    <a:pt x="93" y="0"/>
                  </a:cubicBezTo>
                  <a:cubicBezTo>
                    <a:pt x="44" y="0"/>
                    <a:pt x="8" y="28"/>
                    <a:pt x="8" y="69"/>
                  </a:cubicBezTo>
                  <a:cubicBezTo>
                    <a:pt x="8" y="158"/>
                    <a:pt x="155" y="122"/>
                    <a:pt x="155" y="186"/>
                  </a:cubicBezTo>
                  <a:cubicBezTo>
                    <a:pt x="155" y="205"/>
                    <a:pt x="141" y="229"/>
                    <a:pt x="97" y="229"/>
                  </a:cubicBezTo>
                  <a:cubicBezTo>
                    <a:pt x="61" y="229"/>
                    <a:pt x="35" y="212"/>
                    <a:pt x="18" y="194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20" y="240"/>
                    <a:pt x="52" y="257"/>
                    <a:pt x="95" y="257"/>
                  </a:cubicBezTo>
                  <a:close/>
                </a:path>
              </a:pathLst>
            </a:custGeom>
            <a:solidFill>
              <a:srgbClr val="0101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0" name="Title 1">
            <a:extLst>
              <a:ext uri="{FF2B5EF4-FFF2-40B4-BE49-F238E27FC236}">
                <a16:creationId xmlns:a16="http://schemas.microsoft.com/office/drawing/2014/main" id="{CB6EFD8C-F6DA-4D3D-BB60-6C6DF9C7D2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53391" y="2884236"/>
            <a:ext cx="5503180" cy="1089528"/>
          </a:xfrm>
        </p:spPr>
        <p:txBody>
          <a:bodyPr anchor="ctr"/>
          <a:lstStyle>
            <a:lvl1pPr>
              <a:defRPr sz="4000" b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76260023-D145-4ACF-A998-C4B169D6A0E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53389" y="4050681"/>
            <a:ext cx="5503179" cy="1085276"/>
          </a:xfrm>
        </p:spPr>
        <p:txBody>
          <a:bodyPr>
            <a:normAutofit/>
          </a:bodyPr>
          <a:lstStyle>
            <a:lvl1pPr marL="0" indent="0">
              <a:buNone/>
              <a:defRPr sz="1800"/>
            </a:lvl1pPr>
            <a:lvl2pPr>
              <a:defRPr sz="1800"/>
            </a:lvl2pPr>
          </a:lstStyle>
          <a:p>
            <a:pPr lvl="0"/>
            <a:r>
              <a:rPr lang="en-US" dirty="0"/>
              <a:t>Edit Master text styles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07EF4A5E-964F-443E-BE2B-139C1B066BF2}"/>
              </a:ext>
            </a:extLst>
          </p:cNvPr>
          <p:cNvGrpSpPr/>
          <p:nvPr/>
        </p:nvGrpSpPr>
        <p:grpSpPr>
          <a:xfrm>
            <a:off x="1" y="1588"/>
            <a:ext cx="5521325" cy="6856412"/>
            <a:chOff x="1" y="1588"/>
            <a:chExt cx="5521325" cy="6856412"/>
          </a:xfrm>
        </p:grpSpPr>
        <p:sp>
          <p:nvSpPr>
            <p:cNvPr id="28" name="Freeform 5">
              <a:extLst>
                <a:ext uri="{FF2B5EF4-FFF2-40B4-BE49-F238E27FC236}">
                  <a16:creationId xmlns:a16="http://schemas.microsoft.com/office/drawing/2014/main" id="{8895497D-19E3-40A9-853D-1F80BCEE1ACB}"/>
                </a:ext>
              </a:extLst>
            </p:cNvPr>
            <p:cNvSpPr>
              <a:spLocks/>
            </p:cNvSpPr>
            <p:nvPr/>
          </p:nvSpPr>
          <p:spPr bwMode="auto">
            <a:xfrm>
              <a:off x="1" y="1588"/>
              <a:ext cx="5172075" cy="6856412"/>
            </a:xfrm>
            <a:custGeom>
              <a:avLst/>
              <a:gdLst>
                <a:gd name="T0" fmla="*/ 0 w 3258"/>
                <a:gd name="T1" fmla="*/ 0 h 4319"/>
                <a:gd name="T2" fmla="*/ 1739 w 3258"/>
                <a:gd name="T3" fmla="*/ 0 h 4319"/>
                <a:gd name="T4" fmla="*/ 2581 w 3258"/>
                <a:gd name="T5" fmla="*/ 699 h 4319"/>
                <a:gd name="T6" fmla="*/ 3258 w 3258"/>
                <a:gd name="T7" fmla="*/ 1888 h 4319"/>
                <a:gd name="T8" fmla="*/ 2643 w 3258"/>
                <a:gd name="T9" fmla="*/ 4319 h 4319"/>
                <a:gd name="T10" fmla="*/ 0 w 3258"/>
                <a:gd name="T11" fmla="*/ 4319 h 4319"/>
                <a:gd name="T12" fmla="*/ 0 w 3258"/>
                <a:gd name="T13" fmla="*/ 0 h 4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58" h="4319">
                  <a:moveTo>
                    <a:pt x="0" y="0"/>
                  </a:moveTo>
                  <a:lnTo>
                    <a:pt x="1739" y="0"/>
                  </a:lnTo>
                  <a:lnTo>
                    <a:pt x="2581" y="699"/>
                  </a:lnTo>
                  <a:lnTo>
                    <a:pt x="3258" y="1888"/>
                  </a:lnTo>
                  <a:lnTo>
                    <a:pt x="2643" y="4319"/>
                  </a:lnTo>
                  <a:lnTo>
                    <a:pt x="0" y="431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C20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6">
              <a:extLst>
                <a:ext uri="{FF2B5EF4-FFF2-40B4-BE49-F238E27FC236}">
                  <a16:creationId xmlns:a16="http://schemas.microsoft.com/office/drawing/2014/main" id="{837552FA-05A2-4103-BCC0-93B9747FE4D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0663" y="1588"/>
              <a:ext cx="1336675" cy="1109662"/>
            </a:xfrm>
            <a:custGeom>
              <a:avLst/>
              <a:gdLst>
                <a:gd name="T0" fmla="*/ 842 w 842"/>
                <a:gd name="T1" fmla="*/ 699 h 699"/>
                <a:gd name="T2" fmla="*/ 443 w 842"/>
                <a:gd name="T3" fmla="*/ 0 h 699"/>
                <a:gd name="T4" fmla="*/ 0 w 842"/>
                <a:gd name="T5" fmla="*/ 0 h 699"/>
                <a:gd name="T6" fmla="*/ 842 w 842"/>
                <a:gd name="T7" fmla="*/ 699 h 6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42" h="699">
                  <a:moveTo>
                    <a:pt x="842" y="699"/>
                  </a:moveTo>
                  <a:lnTo>
                    <a:pt x="443" y="0"/>
                  </a:lnTo>
                  <a:lnTo>
                    <a:pt x="0" y="0"/>
                  </a:lnTo>
                  <a:lnTo>
                    <a:pt x="842" y="699"/>
                  </a:lnTo>
                  <a:close/>
                </a:path>
              </a:pathLst>
            </a:custGeom>
            <a:solidFill>
              <a:srgbClr val="F9AC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7">
              <a:extLst>
                <a:ext uri="{FF2B5EF4-FFF2-40B4-BE49-F238E27FC236}">
                  <a16:creationId xmlns:a16="http://schemas.microsoft.com/office/drawing/2014/main" id="{199AF8FB-048F-4085-990F-98A0D9A7DC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9412" y="1588"/>
              <a:ext cx="1306513" cy="1670050"/>
            </a:xfrm>
            <a:custGeom>
              <a:avLst/>
              <a:gdLst>
                <a:gd name="T0" fmla="*/ 0 w 823"/>
                <a:gd name="T1" fmla="*/ 0 h 1052"/>
                <a:gd name="T2" fmla="*/ 399 w 823"/>
                <a:gd name="T3" fmla="*/ 699 h 1052"/>
                <a:gd name="T4" fmla="*/ 823 w 823"/>
                <a:gd name="T5" fmla="*/ 1052 h 1052"/>
                <a:gd name="T6" fmla="*/ 531 w 823"/>
                <a:gd name="T7" fmla="*/ 0 h 1052"/>
                <a:gd name="T8" fmla="*/ 0 w 823"/>
                <a:gd name="T9" fmla="*/ 0 h 10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23" h="1052">
                  <a:moveTo>
                    <a:pt x="0" y="0"/>
                  </a:moveTo>
                  <a:lnTo>
                    <a:pt x="399" y="699"/>
                  </a:lnTo>
                  <a:lnTo>
                    <a:pt x="823" y="1052"/>
                  </a:lnTo>
                  <a:lnTo>
                    <a:pt x="53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47D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8">
              <a:extLst>
                <a:ext uri="{FF2B5EF4-FFF2-40B4-BE49-F238E27FC236}">
                  <a16:creationId xmlns:a16="http://schemas.microsoft.com/office/drawing/2014/main" id="{08123B19-DB85-4E83-B8CF-342588C3E79B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7338" y="1111250"/>
              <a:ext cx="1009650" cy="1774825"/>
            </a:xfrm>
            <a:custGeom>
              <a:avLst/>
              <a:gdLst>
                <a:gd name="T0" fmla="*/ 424 w 636"/>
                <a:gd name="T1" fmla="*/ 353 h 1118"/>
                <a:gd name="T2" fmla="*/ 0 w 636"/>
                <a:gd name="T3" fmla="*/ 0 h 1118"/>
                <a:gd name="T4" fmla="*/ 636 w 636"/>
                <a:gd name="T5" fmla="*/ 1118 h 1118"/>
                <a:gd name="T6" fmla="*/ 424 w 636"/>
                <a:gd name="T7" fmla="*/ 353 h 1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36" h="1118">
                  <a:moveTo>
                    <a:pt x="424" y="353"/>
                  </a:moveTo>
                  <a:lnTo>
                    <a:pt x="0" y="0"/>
                  </a:lnTo>
                  <a:lnTo>
                    <a:pt x="636" y="1118"/>
                  </a:lnTo>
                  <a:lnTo>
                    <a:pt x="424" y="353"/>
                  </a:lnTo>
                  <a:close/>
                </a:path>
              </a:pathLst>
            </a:custGeom>
            <a:solidFill>
              <a:srgbClr val="F155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9">
              <a:extLst>
                <a:ext uri="{FF2B5EF4-FFF2-40B4-BE49-F238E27FC236}">
                  <a16:creationId xmlns:a16="http://schemas.microsoft.com/office/drawing/2014/main" id="{FFDF3801-44D3-4149-82C6-85B6A716036F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0438" y="1671638"/>
              <a:ext cx="750888" cy="1327150"/>
            </a:xfrm>
            <a:custGeom>
              <a:avLst/>
              <a:gdLst>
                <a:gd name="T0" fmla="*/ 0 w 473"/>
                <a:gd name="T1" fmla="*/ 0 h 836"/>
                <a:gd name="T2" fmla="*/ 212 w 473"/>
                <a:gd name="T3" fmla="*/ 765 h 836"/>
                <a:gd name="T4" fmla="*/ 253 w 473"/>
                <a:gd name="T5" fmla="*/ 836 h 836"/>
                <a:gd name="T6" fmla="*/ 473 w 473"/>
                <a:gd name="T7" fmla="*/ 393 h 836"/>
                <a:gd name="T8" fmla="*/ 0 w 473"/>
                <a:gd name="T9" fmla="*/ 0 h 8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3" h="836">
                  <a:moveTo>
                    <a:pt x="0" y="0"/>
                  </a:moveTo>
                  <a:lnTo>
                    <a:pt x="212" y="765"/>
                  </a:lnTo>
                  <a:lnTo>
                    <a:pt x="253" y="836"/>
                  </a:lnTo>
                  <a:lnTo>
                    <a:pt x="473" y="39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9AC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10">
              <a:extLst>
                <a:ext uri="{FF2B5EF4-FFF2-40B4-BE49-F238E27FC236}">
                  <a16:creationId xmlns:a16="http://schemas.microsoft.com/office/drawing/2014/main" id="{FCC37EF9-D366-4183-A0B0-E82D78530664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9701" y="3040063"/>
              <a:ext cx="1412875" cy="2417762"/>
            </a:xfrm>
            <a:custGeom>
              <a:avLst/>
              <a:gdLst>
                <a:gd name="T0" fmla="*/ 756 w 890"/>
                <a:gd name="T1" fmla="*/ 0 h 1523"/>
                <a:gd name="T2" fmla="*/ 0 w 890"/>
                <a:gd name="T3" fmla="*/ 1523 h 1523"/>
                <a:gd name="T4" fmla="*/ 890 w 890"/>
                <a:gd name="T5" fmla="*/ 477 h 1523"/>
                <a:gd name="T6" fmla="*/ 756 w 890"/>
                <a:gd name="T7" fmla="*/ 0 h 1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90" h="1523">
                  <a:moveTo>
                    <a:pt x="756" y="0"/>
                  </a:moveTo>
                  <a:lnTo>
                    <a:pt x="0" y="1523"/>
                  </a:lnTo>
                  <a:lnTo>
                    <a:pt x="890" y="477"/>
                  </a:lnTo>
                  <a:lnTo>
                    <a:pt x="756" y="0"/>
                  </a:lnTo>
                  <a:close/>
                </a:path>
              </a:pathLst>
            </a:custGeom>
            <a:solidFill>
              <a:srgbClr val="F155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595348F9-3222-4871-84C9-F873C5D9A435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9093" y="2998788"/>
              <a:ext cx="371475" cy="798512"/>
            </a:xfrm>
            <a:custGeom>
              <a:avLst/>
              <a:gdLst>
                <a:gd name="T0" fmla="*/ 0 w 234"/>
                <a:gd name="T1" fmla="*/ 26 h 503"/>
                <a:gd name="T2" fmla="*/ 134 w 234"/>
                <a:gd name="T3" fmla="*/ 503 h 503"/>
                <a:gd name="T4" fmla="*/ 234 w 234"/>
                <a:gd name="T5" fmla="*/ 386 h 503"/>
                <a:gd name="T6" fmla="*/ 14 w 234"/>
                <a:gd name="T7" fmla="*/ 0 h 503"/>
                <a:gd name="T8" fmla="*/ 0 w 234"/>
                <a:gd name="T9" fmla="*/ 26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4" h="503">
                  <a:moveTo>
                    <a:pt x="0" y="26"/>
                  </a:moveTo>
                  <a:lnTo>
                    <a:pt x="134" y="503"/>
                  </a:lnTo>
                  <a:lnTo>
                    <a:pt x="234" y="386"/>
                  </a:lnTo>
                  <a:lnTo>
                    <a:pt x="14" y="0"/>
                  </a:lnTo>
                  <a:lnTo>
                    <a:pt x="0" y="26"/>
                  </a:lnTo>
                  <a:close/>
                </a:path>
              </a:pathLst>
            </a:custGeom>
            <a:solidFill>
              <a:srgbClr val="D025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5D7AC1E0-3162-4C74-9254-C735F2ECD2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4376" y="3797300"/>
              <a:ext cx="2266950" cy="3060700"/>
            </a:xfrm>
            <a:custGeom>
              <a:avLst/>
              <a:gdLst>
                <a:gd name="T0" fmla="*/ 1328 w 1428"/>
                <a:gd name="T1" fmla="*/ 0 h 1928"/>
                <a:gd name="T2" fmla="*/ 438 w 1428"/>
                <a:gd name="T3" fmla="*/ 1046 h 1928"/>
                <a:gd name="T4" fmla="*/ 0 w 1428"/>
                <a:gd name="T5" fmla="*/ 1928 h 1928"/>
                <a:gd name="T6" fmla="*/ 593 w 1428"/>
                <a:gd name="T7" fmla="*/ 1928 h 1928"/>
                <a:gd name="T8" fmla="*/ 1428 w 1428"/>
                <a:gd name="T9" fmla="*/ 363 h 1928"/>
                <a:gd name="T10" fmla="*/ 1328 w 1428"/>
                <a:gd name="T11" fmla="*/ 0 h 19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28" h="1928">
                  <a:moveTo>
                    <a:pt x="1328" y="0"/>
                  </a:moveTo>
                  <a:lnTo>
                    <a:pt x="438" y="1046"/>
                  </a:lnTo>
                  <a:lnTo>
                    <a:pt x="0" y="1928"/>
                  </a:lnTo>
                  <a:lnTo>
                    <a:pt x="593" y="1928"/>
                  </a:lnTo>
                  <a:lnTo>
                    <a:pt x="1428" y="363"/>
                  </a:lnTo>
                  <a:lnTo>
                    <a:pt x="1328" y="0"/>
                  </a:lnTo>
                  <a:close/>
                </a:path>
              </a:pathLst>
            </a:custGeom>
            <a:solidFill>
              <a:srgbClr val="931A1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B5E5F53B-2634-444A-B45A-1CE60BAFF210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0663" y="5457825"/>
              <a:ext cx="1189038" cy="1400175"/>
            </a:xfrm>
            <a:custGeom>
              <a:avLst/>
              <a:gdLst>
                <a:gd name="T0" fmla="*/ 311 w 749"/>
                <a:gd name="T1" fmla="*/ 882 h 882"/>
                <a:gd name="T2" fmla="*/ 749 w 749"/>
                <a:gd name="T3" fmla="*/ 0 h 882"/>
                <a:gd name="T4" fmla="*/ 0 w 749"/>
                <a:gd name="T5" fmla="*/ 882 h 882"/>
                <a:gd name="T6" fmla="*/ 311 w 749"/>
                <a:gd name="T7" fmla="*/ 882 h 8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49" h="882">
                  <a:moveTo>
                    <a:pt x="311" y="882"/>
                  </a:moveTo>
                  <a:lnTo>
                    <a:pt x="749" y="0"/>
                  </a:lnTo>
                  <a:lnTo>
                    <a:pt x="0" y="882"/>
                  </a:lnTo>
                  <a:lnTo>
                    <a:pt x="311" y="882"/>
                  </a:lnTo>
                  <a:close/>
                </a:path>
              </a:pathLst>
            </a:custGeom>
            <a:solidFill>
              <a:srgbClr val="F47D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4ED2D8F9-B666-4ACC-B595-B21F802F7D03}"/>
              </a:ext>
            </a:extLst>
          </p:cNvPr>
          <p:cNvGrpSpPr>
            <a:grpSpLocks/>
          </p:cNvGrpSpPr>
          <p:nvPr/>
        </p:nvGrpSpPr>
        <p:grpSpPr>
          <a:xfrm>
            <a:off x="6253390" y="1873690"/>
            <a:ext cx="2445002" cy="586989"/>
            <a:chOff x="4124325" y="4591050"/>
            <a:chExt cx="2479675" cy="595313"/>
          </a:xfrm>
        </p:grpSpPr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4D524078-6249-4B15-A7D8-3EFA8EDA0C97}"/>
                </a:ext>
              </a:extLst>
            </p:cNvPr>
            <p:cNvGrpSpPr/>
            <p:nvPr/>
          </p:nvGrpSpPr>
          <p:grpSpPr>
            <a:xfrm>
              <a:off x="4124325" y="4591050"/>
              <a:ext cx="460375" cy="595313"/>
              <a:chOff x="4124325" y="4591050"/>
              <a:chExt cx="460375" cy="595313"/>
            </a:xfrm>
          </p:grpSpPr>
          <p:sp>
            <p:nvSpPr>
              <p:cNvPr id="43" name="Freeform 25">
                <a:extLst>
                  <a:ext uri="{FF2B5EF4-FFF2-40B4-BE49-F238E27FC236}">
                    <a16:creationId xmlns:a16="http://schemas.microsoft.com/office/drawing/2014/main" id="{31F0670D-623B-43F0-8ECD-62EC33F5D2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4325" y="4983163"/>
                <a:ext cx="457200" cy="203200"/>
              </a:xfrm>
              <a:custGeom>
                <a:avLst/>
                <a:gdLst>
                  <a:gd name="T0" fmla="*/ 143 w 288"/>
                  <a:gd name="T1" fmla="*/ 66 h 128"/>
                  <a:gd name="T2" fmla="*/ 228 w 288"/>
                  <a:gd name="T3" fmla="*/ 23 h 128"/>
                  <a:gd name="T4" fmla="*/ 283 w 288"/>
                  <a:gd name="T5" fmla="*/ 0 h 128"/>
                  <a:gd name="T6" fmla="*/ 288 w 288"/>
                  <a:gd name="T7" fmla="*/ 3 h 128"/>
                  <a:gd name="T8" fmla="*/ 283 w 288"/>
                  <a:gd name="T9" fmla="*/ 62 h 128"/>
                  <a:gd name="T10" fmla="*/ 156 w 288"/>
                  <a:gd name="T11" fmla="*/ 128 h 128"/>
                  <a:gd name="T12" fmla="*/ 131 w 288"/>
                  <a:gd name="T13" fmla="*/ 128 h 128"/>
                  <a:gd name="T14" fmla="*/ 4 w 288"/>
                  <a:gd name="T15" fmla="*/ 62 h 128"/>
                  <a:gd name="T16" fmla="*/ 0 w 288"/>
                  <a:gd name="T17" fmla="*/ 3 h 128"/>
                  <a:gd name="T18" fmla="*/ 4 w 288"/>
                  <a:gd name="T19" fmla="*/ 0 h 128"/>
                  <a:gd name="T20" fmla="*/ 59 w 288"/>
                  <a:gd name="T21" fmla="*/ 23 h 128"/>
                  <a:gd name="T22" fmla="*/ 143 w 288"/>
                  <a:gd name="T23" fmla="*/ 66 h 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88" h="128">
                    <a:moveTo>
                      <a:pt x="143" y="66"/>
                    </a:moveTo>
                    <a:lnTo>
                      <a:pt x="228" y="23"/>
                    </a:lnTo>
                    <a:lnTo>
                      <a:pt x="283" y="0"/>
                    </a:lnTo>
                    <a:lnTo>
                      <a:pt x="288" y="3"/>
                    </a:lnTo>
                    <a:lnTo>
                      <a:pt x="283" y="62"/>
                    </a:lnTo>
                    <a:lnTo>
                      <a:pt x="156" y="128"/>
                    </a:lnTo>
                    <a:lnTo>
                      <a:pt x="131" y="128"/>
                    </a:lnTo>
                    <a:lnTo>
                      <a:pt x="4" y="62"/>
                    </a:lnTo>
                    <a:lnTo>
                      <a:pt x="0" y="3"/>
                    </a:lnTo>
                    <a:lnTo>
                      <a:pt x="4" y="0"/>
                    </a:lnTo>
                    <a:lnTo>
                      <a:pt x="59" y="23"/>
                    </a:lnTo>
                    <a:lnTo>
                      <a:pt x="143" y="66"/>
                    </a:lnTo>
                    <a:close/>
                  </a:path>
                </a:pathLst>
              </a:custGeom>
              <a:solidFill>
                <a:srgbClr val="F155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26">
                <a:extLst>
                  <a:ext uri="{FF2B5EF4-FFF2-40B4-BE49-F238E27FC236}">
                    <a16:creationId xmlns:a16="http://schemas.microsoft.com/office/drawing/2014/main" id="{D882C490-23CE-4A81-9663-C93095D06E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4325" y="4689475"/>
                <a:ext cx="457200" cy="403225"/>
              </a:xfrm>
              <a:custGeom>
                <a:avLst/>
                <a:gdLst>
                  <a:gd name="T0" fmla="*/ 288 w 288"/>
                  <a:gd name="T1" fmla="*/ 188 h 254"/>
                  <a:gd name="T2" fmla="*/ 283 w 288"/>
                  <a:gd name="T3" fmla="*/ 247 h 254"/>
                  <a:gd name="T4" fmla="*/ 270 w 288"/>
                  <a:gd name="T5" fmla="*/ 254 h 254"/>
                  <a:gd name="T6" fmla="*/ 0 w 288"/>
                  <a:gd name="T7" fmla="*/ 17 h 254"/>
                  <a:gd name="T8" fmla="*/ 0 w 288"/>
                  <a:gd name="T9" fmla="*/ 11 h 254"/>
                  <a:gd name="T10" fmla="*/ 72 w 288"/>
                  <a:gd name="T11" fmla="*/ 0 h 254"/>
                  <a:gd name="T12" fmla="*/ 288 w 288"/>
                  <a:gd name="T13" fmla="*/ 188 h 2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8" h="254">
                    <a:moveTo>
                      <a:pt x="288" y="188"/>
                    </a:moveTo>
                    <a:lnTo>
                      <a:pt x="283" y="247"/>
                    </a:lnTo>
                    <a:lnTo>
                      <a:pt x="270" y="254"/>
                    </a:lnTo>
                    <a:lnTo>
                      <a:pt x="0" y="17"/>
                    </a:lnTo>
                    <a:lnTo>
                      <a:pt x="0" y="11"/>
                    </a:lnTo>
                    <a:lnTo>
                      <a:pt x="72" y="0"/>
                    </a:lnTo>
                    <a:lnTo>
                      <a:pt x="288" y="188"/>
                    </a:lnTo>
                    <a:close/>
                  </a:path>
                </a:pathLst>
              </a:custGeom>
              <a:solidFill>
                <a:srgbClr val="BC202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Freeform 27">
                <a:extLst>
                  <a:ext uri="{FF2B5EF4-FFF2-40B4-BE49-F238E27FC236}">
                    <a16:creationId xmlns:a16="http://schemas.microsoft.com/office/drawing/2014/main" id="{77DC2465-B8AD-48DB-BB26-8D699DFA73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4325" y="4867275"/>
                <a:ext cx="209550" cy="225425"/>
              </a:xfrm>
              <a:custGeom>
                <a:avLst/>
                <a:gdLst>
                  <a:gd name="T0" fmla="*/ 17 w 132"/>
                  <a:gd name="T1" fmla="*/ 142 h 142"/>
                  <a:gd name="T2" fmla="*/ 4 w 132"/>
                  <a:gd name="T3" fmla="*/ 135 h 142"/>
                  <a:gd name="T4" fmla="*/ 0 w 132"/>
                  <a:gd name="T5" fmla="*/ 76 h 142"/>
                  <a:gd name="T6" fmla="*/ 86 w 132"/>
                  <a:gd name="T7" fmla="*/ 0 h 142"/>
                  <a:gd name="T8" fmla="*/ 132 w 132"/>
                  <a:gd name="T9" fmla="*/ 41 h 142"/>
                  <a:gd name="T10" fmla="*/ 17 w 132"/>
                  <a:gd name="T11" fmla="*/ 142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2" h="142">
                    <a:moveTo>
                      <a:pt x="17" y="142"/>
                    </a:moveTo>
                    <a:lnTo>
                      <a:pt x="4" y="135"/>
                    </a:lnTo>
                    <a:lnTo>
                      <a:pt x="0" y="76"/>
                    </a:lnTo>
                    <a:lnTo>
                      <a:pt x="86" y="0"/>
                    </a:lnTo>
                    <a:lnTo>
                      <a:pt x="132" y="41"/>
                    </a:lnTo>
                    <a:lnTo>
                      <a:pt x="17" y="142"/>
                    </a:lnTo>
                    <a:close/>
                  </a:path>
                </a:pathLst>
              </a:custGeom>
              <a:solidFill>
                <a:srgbClr val="931A1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Freeform 28">
                <a:extLst>
                  <a:ext uri="{FF2B5EF4-FFF2-40B4-BE49-F238E27FC236}">
                    <a16:creationId xmlns:a16="http://schemas.microsoft.com/office/drawing/2014/main" id="{9B0AF956-0F0A-4149-B756-7796EA961A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4325" y="4591050"/>
                <a:ext cx="381000" cy="130175"/>
              </a:xfrm>
              <a:custGeom>
                <a:avLst/>
                <a:gdLst>
                  <a:gd name="T0" fmla="*/ 143 w 240"/>
                  <a:gd name="T1" fmla="*/ 60 h 82"/>
                  <a:gd name="T2" fmla="*/ 3 w 240"/>
                  <a:gd name="T3" fmla="*/ 82 h 82"/>
                  <a:gd name="T4" fmla="*/ 0 w 240"/>
                  <a:gd name="T5" fmla="*/ 79 h 82"/>
                  <a:gd name="T6" fmla="*/ 4 w 240"/>
                  <a:gd name="T7" fmla="*/ 21 h 82"/>
                  <a:gd name="T8" fmla="*/ 139 w 240"/>
                  <a:gd name="T9" fmla="*/ 0 h 82"/>
                  <a:gd name="T10" fmla="*/ 147 w 240"/>
                  <a:gd name="T11" fmla="*/ 0 h 82"/>
                  <a:gd name="T12" fmla="*/ 240 w 240"/>
                  <a:gd name="T13" fmla="*/ 14 h 82"/>
                  <a:gd name="T14" fmla="*/ 240 w 240"/>
                  <a:gd name="T15" fmla="*/ 76 h 82"/>
                  <a:gd name="T16" fmla="*/ 143 w 240"/>
                  <a:gd name="T17" fmla="*/ 60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40" h="82">
                    <a:moveTo>
                      <a:pt x="143" y="60"/>
                    </a:moveTo>
                    <a:lnTo>
                      <a:pt x="3" y="82"/>
                    </a:lnTo>
                    <a:lnTo>
                      <a:pt x="0" y="79"/>
                    </a:lnTo>
                    <a:lnTo>
                      <a:pt x="4" y="21"/>
                    </a:lnTo>
                    <a:lnTo>
                      <a:pt x="139" y="0"/>
                    </a:lnTo>
                    <a:lnTo>
                      <a:pt x="147" y="0"/>
                    </a:lnTo>
                    <a:lnTo>
                      <a:pt x="240" y="14"/>
                    </a:lnTo>
                    <a:lnTo>
                      <a:pt x="240" y="76"/>
                    </a:lnTo>
                    <a:lnTo>
                      <a:pt x="143" y="60"/>
                    </a:lnTo>
                    <a:close/>
                  </a:path>
                </a:pathLst>
              </a:custGeom>
              <a:solidFill>
                <a:srgbClr val="F47D6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29">
                <a:extLst>
                  <a:ext uri="{FF2B5EF4-FFF2-40B4-BE49-F238E27FC236}">
                    <a16:creationId xmlns:a16="http://schemas.microsoft.com/office/drawing/2014/main" id="{AB135C31-7E42-4D6E-B085-D420E917D2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89450" y="4610100"/>
                <a:ext cx="95250" cy="207962"/>
              </a:xfrm>
              <a:custGeom>
                <a:avLst/>
                <a:gdLst>
                  <a:gd name="T0" fmla="*/ 0 w 60"/>
                  <a:gd name="T1" fmla="*/ 131 h 131"/>
                  <a:gd name="T2" fmla="*/ 0 w 60"/>
                  <a:gd name="T3" fmla="*/ 0 h 131"/>
                  <a:gd name="T4" fmla="*/ 37 w 60"/>
                  <a:gd name="T5" fmla="*/ 6 h 131"/>
                  <a:gd name="T6" fmla="*/ 60 w 60"/>
                  <a:gd name="T7" fmla="*/ 34 h 131"/>
                  <a:gd name="T8" fmla="*/ 60 w 60"/>
                  <a:gd name="T9" fmla="*/ 106 h 131"/>
                  <a:gd name="T10" fmla="*/ 0 w 60"/>
                  <a:gd name="T11" fmla="*/ 131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0" h="131">
                    <a:moveTo>
                      <a:pt x="0" y="131"/>
                    </a:moveTo>
                    <a:lnTo>
                      <a:pt x="0" y="0"/>
                    </a:lnTo>
                    <a:lnTo>
                      <a:pt x="37" y="6"/>
                    </a:lnTo>
                    <a:lnTo>
                      <a:pt x="60" y="34"/>
                    </a:lnTo>
                    <a:lnTo>
                      <a:pt x="60" y="106"/>
                    </a:lnTo>
                    <a:lnTo>
                      <a:pt x="0" y="131"/>
                    </a:lnTo>
                    <a:close/>
                  </a:path>
                </a:pathLst>
              </a:custGeom>
              <a:solidFill>
                <a:srgbClr val="F9AC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30">
                <a:extLst>
                  <a:ext uri="{FF2B5EF4-FFF2-40B4-BE49-F238E27FC236}">
                    <a16:creationId xmlns:a16="http://schemas.microsoft.com/office/drawing/2014/main" id="{DA36A413-CCAA-4F3E-A16B-B21FAE77FB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65638" y="4606925"/>
                <a:ext cx="23812" cy="100012"/>
              </a:xfrm>
              <a:custGeom>
                <a:avLst/>
                <a:gdLst>
                  <a:gd name="T0" fmla="*/ 0 w 15"/>
                  <a:gd name="T1" fmla="*/ 61 h 63"/>
                  <a:gd name="T2" fmla="*/ 15 w 15"/>
                  <a:gd name="T3" fmla="*/ 63 h 63"/>
                  <a:gd name="T4" fmla="*/ 15 w 15"/>
                  <a:gd name="T5" fmla="*/ 2 h 63"/>
                  <a:gd name="T6" fmla="*/ 0 w 15"/>
                  <a:gd name="T7" fmla="*/ 0 h 63"/>
                  <a:gd name="T8" fmla="*/ 0 w 15"/>
                  <a:gd name="T9" fmla="*/ 61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63">
                    <a:moveTo>
                      <a:pt x="0" y="61"/>
                    </a:moveTo>
                    <a:lnTo>
                      <a:pt x="15" y="63"/>
                    </a:lnTo>
                    <a:lnTo>
                      <a:pt x="15" y="2"/>
                    </a:lnTo>
                    <a:lnTo>
                      <a:pt x="0" y="0"/>
                    </a:lnTo>
                    <a:lnTo>
                      <a:pt x="0" y="61"/>
                    </a:lnTo>
                    <a:close/>
                  </a:path>
                </a:pathLst>
              </a:custGeom>
              <a:solidFill>
                <a:srgbClr val="F155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31">
                <a:extLst>
                  <a:ext uri="{FF2B5EF4-FFF2-40B4-BE49-F238E27FC236}">
                    <a16:creationId xmlns:a16="http://schemas.microsoft.com/office/drawing/2014/main" id="{7571954E-F14A-4362-B792-524004422E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9088" y="4702175"/>
                <a:ext cx="147637" cy="39687"/>
              </a:xfrm>
              <a:custGeom>
                <a:avLst/>
                <a:gdLst>
                  <a:gd name="T0" fmla="*/ 15 w 93"/>
                  <a:gd name="T1" fmla="*/ 25 h 25"/>
                  <a:gd name="T2" fmla="*/ 93 w 93"/>
                  <a:gd name="T3" fmla="*/ 13 h 25"/>
                  <a:gd name="T4" fmla="*/ 78 w 93"/>
                  <a:gd name="T5" fmla="*/ 0 h 25"/>
                  <a:gd name="T6" fmla="*/ 0 w 93"/>
                  <a:gd name="T7" fmla="*/ 12 h 25"/>
                  <a:gd name="T8" fmla="*/ 15 w 93"/>
                  <a:gd name="T9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3" h="25">
                    <a:moveTo>
                      <a:pt x="15" y="25"/>
                    </a:moveTo>
                    <a:lnTo>
                      <a:pt x="93" y="13"/>
                    </a:lnTo>
                    <a:lnTo>
                      <a:pt x="78" y="0"/>
                    </a:lnTo>
                    <a:lnTo>
                      <a:pt x="0" y="12"/>
                    </a:lnTo>
                    <a:lnTo>
                      <a:pt x="15" y="25"/>
                    </a:lnTo>
                    <a:close/>
                  </a:path>
                </a:pathLst>
              </a:custGeom>
              <a:solidFill>
                <a:srgbClr val="931A1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32">
                <a:extLst>
                  <a:ext uri="{FF2B5EF4-FFF2-40B4-BE49-F238E27FC236}">
                    <a16:creationId xmlns:a16="http://schemas.microsoft.com/office/drawing/2014/main" id="{BE350888-EF92-424F-96D0-A7D76A7344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52938" y="5022850"/>
                <a:ext cx="100012" cy="79375"/>
              </a:xfrm>
              <a:custGeom>
                <a:avLst/>
                <a:gdLst>
                  <a:gd name="T0" fmla="*/ 63 w 63"/>
                  <a:gd name="T1" fmla="*/ 44 h 50"/>
                  <a:gd name="T2" fmla="*/ 15 w 63"/>
                  <a:gd name="T3" fmla="*/ 0 h 50"/>
                  <a:gd name="T4" fmla="*/ 0 w 63"/>
                  <a:gd name="T5" fmla="*/ 8 h 50"/>
                  <a:gd name="T6" fmla="*/ 49 w 63"/>
                  <a:gd name="T7" fmla="*/ 50 h 50"/>
                  <a:gd name="T8" fmla="*/ 63 w 63"/>
                  <a:gd name="T9" fmla="*/ 44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3" h="50">
                    <a:moveTo>
                      <a:pt x="63" y="44"/>
                    </a:moveTo>
                    <a:lnTo>
                      <a:pt x="15" y="0"/>
                    </a:lnTo>
                    <a:lnTo>
                      <a:pt x="0" y="8"/>
                    </a:lnTo>
                    <a:lnTo>
                      <a:pt x="49" y="50"/>
                    </a:lnTo>
                    <a:lnTo>
                      <a:pt x="63" y="44"/>
                    </a:lnTo>
                    <a:close/>
                  </a:path>
                </a:pathLst>
              </a:custGeom>
              <a:solidFill>
                <a:srgbClr val="D025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33">
                <a:extLst>
                  <a:ext uri="{FF2B5EF4-FFF2-40B4-BE49-F238E27FC236}">
                    <a16:creationId xmlns:a16="http://schemas.microsoft.com/office/drawing/2014/main" id="{10C677DF-061D-4820-8229-2A35B3553A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51313" y="5022850"/>
                <a:ext cx="100012" cy="79375"/>
              </a:xfrm>
              <a:custGeom>
                <a:avLst/>
                <a:gdLst>
                  <a:gd name="T0" fmla="*/ 0 w 63"/>
                  <a:gd name="T1" fmla="*/ 44 h 50"/>
                  <a:gd name="T2" fmla="*/ 14 w 63"/>
                  <a:gd name="T3" fmla="*/ 50 h 50"/>
                  <a:gd name="T4" fmla="*/ 63 w 63"/>
                  <a:gd name="T5" fmla="*/ 8 h 50"/>
                  <a:gd name="T6" fmla="*/ 48 w 63"/>
                  <a:gd name="T7" fmla="*/ 0 h 50"/>
                  <a:gd name="T8" fmla="*/ 0 w 63"/>
                  <a:gd name="T9" fmla="*/ 44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3" h="50">
                    <a:moveTo>
                      <a:pt x="0" y="44"/>
                    </a:moveTo>
                    <a:lnTo>
                      <a:pt x="14" y="50"/>
                    </a:lnTo>
                    <a:lnTo>
                      <a:pt x="63" y="8"/>
                    </a:lnTo>
                    <a:lnTo>
                      <a:pt x="48" y="0"/>
                    </a:lnTo>
                    <a:lnTo>
                      <a:pt x="0" y="44"/>
                    </a:lnTo>
                    <a:close/>
                  </a:path>
                </a:pathLst>
              </a:custGeom>
              <a:solidFill>
                <a:srgbClr val="D025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42" name="Freeform 34">
              <a:extLst>
                <a:ext uri="{FF2B5EF4-FFF2-40B4-BE49-F238E27FC236}">
                  <a16:creationId xmlns:a16="http://schemas.microsoft.com/office/drawing/2014/main" id="{1BA7535D-B7A1-4B9F-916E-1D17952064D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73625" y="4746625"/>
              <a:ext cx="1730375" cy="284162"/>
            </a:xfrm>
            <a:custGeom>
              <a:avLst/>
              <a:gdLst>
                <a:gd name="T0" fmla="*/ 1399 w 1571"/>
                <a:gd name="T1" fmla="*/ 170 h 257"/>
                <a:gd name="T2" fmla="*/ 1505 w 1571"/>
                <a:gd name="T3" fmla="*/ 170 h 257"/>
                <a:gd name="T4" fmla="*/ 1471 w 1571"/>
                <a:gd name="T5" fmla="*/ 4 h 257"/>
                <a:gd name="T6" fmla="*/ 1333 w 1571"/>
                <a:gd name="T7" fmla="*/ 252 h 257"/>
                <a:gd name="T8" fmla="*/ 1390 w 1571"/>
                <a:gd name="T9" fmla="*/ 197 h 257"/>
                <a:gd name="T10" fmla="*/ 1536 w 1571"/>
                <a:gd name="T11" fmla="*/ 252 h 257"/>
                <a:gd name="T12" fmla="*/ 1208 w 1571"/>
                <a:gd name="T13" fmla="*/ 252 h 257"/>
                <a:gd name="T14" fmla="*/ 1287 w 1571"/>
                <a:gd name="T15" fmla="*/ 31 h 257"/>
                <a:gd name="T16" fmla="*/ 1098 w 1571"/>
                <a:gd name="T17" fmla="*/ 4 h 257"/>
                <a:gd name="T18" fmla="*/ 1177 w 1571"/>
                <a:gd name="T19" fmla="*/ 31 h 257"/>
                <a:gd name="T20" fmla="*/ 1208 w 1571"/>
                <a:gd name="T21" fmla="*/ 252 h 257"/>
                <a:gd name="T22" fmla="*/ 867 w 1571"/>
                <a:gd name="T23" fmla="*/ 126 h 257"/>
                <a:gd name="T24" fmla="*/ 932 w 1571"/>
                <a:gd name="T25" fmla="*/ 31 h 257"/>
                <a:gd name="T26" fmla="*/ 932 w 1571"/>
                <a:gd name="T27" fmla="*/ 126 h 257"/>
                <a:gd name="T28" fmla="*/ 950 w 1571"/>
                <a:gd name="T29" fmla="*/ 151 h 257"/>
                <a:gd name="T30" fmla="*/ 936 w 1571"/>
                <a:gd name="T31" fmla="*/ 4 h 257"/>
                <a:gd name="T32" fmla="*/ 836 w 1571"/>
                <a:gd name="T33" fmla="*/ 252 h 257"/>
                <a:gd name="T34" fmla="*/ 867 w 1571"/>
                <a:gd name="T35" fmla="*/ 154 h 257"/>
                <a:gd name="T36" fmla="*/ 980 w 1571"/>
                <a:gd name="T37" fmla="*/ 252 h 257"/>
                <a:gd name="T38" fmla="*/ 681 w 1571"/>
                <a:gd name="T39" fmla="*/ 170 h 257"/>
                <a:gd name="T40" fmla="*/ 629 w 1571"/>
                <a:gd name="T41" fmla="*/ 36 h 257"/>
                <a:gd name="T42" fmla="*/ 748 w 1571"/>
                <a:gd name="T43" fmla="*/ 252 h 257"/>
                <a:gd name="T44" fmla="*/ 609 w 1571"/>
                <a:gd name="T45" fmla="*/ 4 h 257"/>
                <a:gd name="T46" fmla="*/ 545 w 1571"/>
                <a:gd name="T47" fmla="*/ 252 h 257"/>
                <a:gd name="T48" fmla="*/ 691 w 1571"/>
                <a:gd name="T49" fmla="*/ 197 h 257"/>
                <a:gd name="T50" fmla="*/ 748 w 1571"/>
                <a:gd name="T51" fmla="*/ 252 h 257"/>
                <a:gd name="T52" fmla="*/ 320 w 1571"/>
                <a:gd name="T53" fmla="*/ 126 h 257"/>
                <a:gd name="T54" fmla="*/ 385 w 1571"/>
                <a:gd name="T55" fmla="*/ 31 h 257"/>
                <a:gd name="T56" fmla="*/ 385 w 1571"/>
                <a:gd name="T57" fmla="*/ 126 h 257"/>
                <a:gd name="T58" fmla="*/ 320 w 1571"/>
                <a:gd name="T59" fmla="*/ 154 h 257"/>
                <a:gd name="T60" fmla="*/ 467 w 1571"/>
                <a:gd name="T61" fmla="*/ 79 h 257"/>
                <a:gd name="T62" fmla="*/ 289 w 1571"/>
                <a:gd name="T63" fmla="*/ 4 h 257"/>
                <a:gd name="T64" fmla="*/ 320 w 1571"/>
                <a:gd name="T65" fmla="*/ 252 h 257"/>
                <a:gd name="T66" fmla="*/ 187 w 1571"/>
                <a:gd name="T67" fmla="*/ 184 h 257"/>
                <a:gd name="T68" fmla="*/ 91 w 1571"/>
                <a:gd name="T69" fmla="*/ 28 h 257"/>
                <a:gd name="T70" fmla="*/ 181 w 1571"/>
                <a:gd name="T71" fmla="*/ 35 h 257"/>
                <a:gd name="T72" fmla="*/ 8 w 1571"/>
                <a:gd name="T73" fmla="*/ 69 h 257"/>
                <a:gd name="T74" fmla="*/ 97 w 1571"/>
                <a:gd name="T75" fmla="*/ 229 h 257"/>
                <a:gd name="T76" fmla="*/ 0 w 1571"/>
                <a:gd name="T77" fmla="*/ 217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571" h="257">
                  <a:moveTo>
                    <a:pt x="1505" y="170"/>
                  </a:moveTo>
                  <a:cubicBezTo>
                    <a:pt x="1399" y="170"/>
                    <a:pt x="1399" y="170"/>
                    <a:pt x="1399" y="170"/>
                  </a:cubicBezTo>
                  <a:cubicBezTo>
                    <a:pt x="1452" y="36"/>
                    <a:pt x="1452" y="36"/>
                    <a:pt x="1452" y="36"/>
                  </a:cubicBezTo>
                  <a:lnTo>
                    <a:pt x="1505" y="170"/>
                  </a:lnTo>
                  <a:close/>
                  <a:moveTo>
                    <a:pt x="1571" y="252"/>
                  </a:moveTo>
                  <a:cubicBezTo>
                    <a:pt x="1471" y="4"/>
                    <a:pt x="1471" y="4"/>
                    <a:pt x="1471" y="4"/>
                  </a:cubicBezTo>
                  <a:cubicBezTo>
                    <a:pt x="1433" y="4"/>
                    <a:pt x="1433" y="4"/>
                    <a:pt x="1433" y="4"/>
                  </a:cubicBezTo>
                  <a:cubicBezTo>
                    <a:pt x="1333" y="252"/>
                    <a:pt x="1333" y="252"/>
                    <a:pt x="1333" y="252"/>
                  </a:cubicBezTo>
                  <a:cubicBezTo>
                    <a:pt x="1368" y="252"/>
                    <a:pt x="1368" y="252"/>
                    <a:pt x="1368" y="252"/>
                  </a:cubicBezTo>
                  <a:cubicBezTo>
                    <a:pt x="1390" y="197"/>
                    <a:pt x="1390" y="197"/>
                    <a:pt x="1390" y="197"/>
                  </a:cubicBezTo>
                  <a:cubicBezTo>
                    <a:pt x="1514" y="197"/>
                    <a:pt x="1514" y="197"/>
                    <a:pt x="1514" y="197"/>
                  </a:cubicBezTo>
                  <a:cubicBezTo>
                    <a:pt x="1536" y="252"/>
                    <a:pt x="1536" y="252"/>
                    <a:pt x="1536" y="252"/>
                  </a:cubicBezTo>
                  <a:lnTo>
                    <a:pt x="1571" y="252"/>
                  </a:lnTo>
                  <a:close/>
                  <a:moveTo>
                    <a:pt x="1208" y="252"/>
                  </a:moveTo>
                  <a:cubicBezTo>
                    <a:pt x="1208" y="31"/>
                    <a:pt x="1208" y="31"/>
                    <a:pt x="1208" y="31"/>
                  </a:cubicBezTo>
                  <a:cubicBezTo>
                    <a:pt x="1287" y="31"/>
                    <a:pt x="1287" y="31"/>
                    <a:pt x="1287" y="31"/>
                  </a:cubicBezTo>
                  <a:cubicBezTo>
                    <a:pt x="1287" y="4"/>
                    <a:pt x="1287" y="4"/>
                    <a:pt x="1287" y="4"/>
                  </a:cubicBezTo>
                  <a:cubicBezTo>
                    <a:pt x="1098" y="4"/>
                    <a:pt x="1098" y="4"/>
                    <a:pt x="1098" y="4"/>
                  </a:cubicBezTo>
                  <a:cubicBezTo>
                    <a:pt x="1098" y="31"/>
                    <a:pt x="1098" y="31"/>
                    <a:pt x="1098" y="31"/>
                  </a:cubicBezTo>
                  <a:cubicBezTo>
                    <a:pt x="1177" y="31"/>
                    <a:pt x="1177" y="31"/>
                    <a:pt x="1177" y="31"/>
                  </a:cubicBezTo>
                  <a:cubicBezTo>
                    <a:pt x="1177" y="252"/>
                    <a:pt x="1177" y="252"/>
                    <a:pt x="1177" y="252"/>
                  </a:cubicBezTo>
                  <a:lnTo>
                    <a:pt x="1208" y="252"/>
                  </a:lnTo>
                  <a:close/>
                  <a:moveTo>
                    <a:pt x="932" y="126"/>
                  </a:moveTo>
                  <a:cubicBezTo>
                    <a:pt x="867" y="126"/>
                    <a:pt x="867" y="126"/>
                    <a:pt x="867" y="126"/>
                  </a:cubicBezTo>
                  <a:cubicBezTo>
                    <a:pt x="867" y="31"/>
                    <a:pt x="867" y="31"/>
                    <a:pt x="867" y="31"/>
                  </a:cubicBezTo>
                  <a:cubicBezTo>
                    <a:pt x="932" y="31"/>
                    <a:pt x="932" y="31"/>
                    <a:pt x="932" y="31"/>
                  </a:cubicBezTo>
                  <a:cubicBezTo>
                    <a:pt x="962" y="31"/>
                    <a:pt x="982" y="51"/>
                    <a:pt x="982" y="79"/>
                  </a:cubicBezTo>
                  <a:cubicBezTo>
                    <a:pt x="982" y="107"/>
                    <a:pt x="962" y="126"/>
                    <a:pt x="932" y="126"/>
                  </a:cubicBezTo>
                  <a:close/>
                  <a:moveTo>
                    <a:pt x="1017" y="252"/>
                  </a:moveTo>
                  <a:cubicBezTo>
                    <a:pt x="950" y="151"/>
                    <a:pt x="950" y="151"/>
                    <a:pt x="950" y="151"/>
                  </a:cubicBezTo>
                  <a:cubicBezTo>
                    <a:pt x="984" y="148"/>
                    <a:pt x="1014" y="123"/>
                    <a:pt x="1014" y="79"/>
                  </a:cubicBezTo>
                  <a:cubicBezTo>
                    <a:pt x="1014" y="33"/>
                    <a:pt x="982" y="4"/>
                    <a:pt x="936" y="4"/>
                  </a:cubicBezTo>
                  <a:cubicBezTo>
                    <a:pt x="836" y="4"/>
                    <a:pt x="836" y="4"/>
                    <a:pt x="836" y="4"/>
                  </a:cubicBezTo>
                  <a:cubicBezTo>
                    <a:pt x="836" y="252"/>
                    <a:pt x="836" y="252"/>
                    <a:pt x="836" y="252"/>
                  </a:cubicBezTo>
                  <a:cubicBezTo>
                    <a:pt x="867" y="252"/>
                    <a:pt x="867" y="252"/>
                    <a:pt x="867" y="252"/>
                  </a:cubicBezTo>
                  <a:cubicBezTo>
                    <a:pt x="867" y="154"/>
                    <a:pt x="867" y="154"/>
                    <a:pt x="867" y="154"/>
                  </a:cubicBezTo>
                  <a:cubicBezTo>
                    <a:pt x="917" y="154"/>
                    <a:pt x="917" y="154"/>
                    <a:pt x="917" y="154"/>
                  </a:cubicBezTo>
                  <a:cubicBezTo>
                    <a:pt x="980" y="252"/>
                    <a:pt x="980" y="252"/>
                    <a:pt x="980" y="252"/>
                  </a:cubicBezTo>
                  <a:lnTo>
                    <a:pt x="1017" y="252"/>
                  </a:lnTo>
                  <a:close/>
                  <a:moveTo>
                    <a:pt x="681" y="170"/>
                  </a:moveTo>
                  <a:cubicBezTo>
                    <a:pt x="576" y="170"/>
                    <a:pt x="576" y="170"/>
                    <a:pt x="576" y="170"/>
                  </a:cubicBezTo>
                  <a:cubicBezTo>
                    <a:pt x="629" y="36"/>
                    <a:pt x="629" y="36"/>
                    <a:pt x="629" y="36"/>
                  </a:cubicBezTo>
                  <a:lnTo>
                    <a:pt x="681" y="170"/>
                  </a:lnTo>
                  <a:close/>
                  <a:moveTo>
                    <a:pt x="748" y="252"/>
                  </a:moveTo>
                  <a:cubicBezTo>
                    <a:pt x="648" y="4"/>
                    <a:pt x="648" y="4"/>
                    <a:pt x="648" y="4"/>
                  </a:cubicBezTo>
                  <a:cubicBezTo>
                    <a:pt x="609" y="4"/>
                    <a:pt x="609" y="4"/>
                    <a:pt x="609" y="4"/>
                  </a:cubicBezTo>
                  <a:cubicBezTo>
                    <a:pt x="509" y="252"/>
                    <a:pt x="509" y="252"/>
                    <a:pt x="509" y="252"/>
                  </a:cubicBezTo>
                  <a:cubicBezTo>
                    <a:pt x="545" y="252"/>
                    <a:pt x="545" y="252"/>
                    <a:pt x="545" y="252"/>
                  </a:cubicBezTo>
                  <a:cubicBezTo>
                    <a:pt x="567" y="197"/>
                    <a:pt x="567" y="197"/>
                    <a:pt x="567" y="197"/>
                  </a:cubicBezTo>
                  <a:cubicBezTo>
                    <a:pt x="691" y="197"/>
                    <a:pt x="691" y="197"/>
                    <a:pt x="691" y="197"/>
                  </a:cubicBezTo>
                  <a:cubicBezTo>
                    <a:pt x="713" y="252"/>
                    <a:pt x="713" y="252"/>
                    <a:pt x="713" y="252"/>
                  </a:cubicBezTo>
                  <a:lnTo>
                    <a:pt x="748" y="252"/>
                  </a:lnTo>
                  <a:close/>
                  <a:moveTo>
                    <a:pt x="385" y="126"/>
                  </a:moveTo>
                  <a:cubicBezTo>
                    <a:pt x="320" y="126"/>
                    <a:pt x="320" y="126"/>
                    <a:pt x="320" y="126"/>
                  </a:cubicBezTo>
                  <a:cubicBezTo>
                    <a:pt x="320" y="31"/>
                    <a:pt x="320" y="31"/>
                    <a:pt x="320" y="31"/>
                  </a:cubicBezTo>
                  <a:cubicBezTo>
                    <a:pt x="385" y="31"/>
                    <a:pt x="385" y="31"/>
                    <a:pt x="385" y="31"/>
                  </a:cubicBezTo>
                  <a:cubicBezTo>
                    <a:pt x="415" y="31"/>
                    <a:pt x="435" y="51"/>
                    <a:pt x="435" y="79"/>
                  </a:cubicBezTo>
                  <a:cubicBezTo>
                    <a:pt x="435" y="107"/>
                    <a:pt x="415" y="126"/>
                    <a:pt x="385" y="126"/>
                  </a:cubicBezTo>
                  <a:close/>
                  <a:moveTo>
                    <a:pt x="320" y="252"/>
                  </a:moveTo>
                  <a:cubicBezTo>
                    <a:pt x="320" y="154"/>
                    <a:pt x="320" y="154"/>
                    <a:pt x="320" y="154"/>
                  </a:cubicBezTo>
                  <a:cubicBezTo>
                    <a:pt x="389" y="154"/>
                    <a:pt x="389" y="154"/>
                    <a:pt x="389" y="154"/>
                  </a:cubicBezTo>
                  <a:cubicBezTo>
                    <a:pt x="438" y="154"/>
                    <a:pt x="467" y="119"/>
                    <a:pt x="467" y="79"/>
                  </a:cubicBezTo>
                  <a:cubicBezTo>
                    <a:pt x="467" y="38"/>
                    <a:pt x="439" y="4"/>
                    <a:pt x="389" y="4"/>
                  </a:cubicBezTo>
                  <a:cubicBezTo>
                    <a:pt x="289" y="4"/>
                    <a:pt x="289" y="4"/>
                    <a:pt x="289" y="4"/>
                  </a:cubicBezTo>
                  <a:cubicBezTo>
                    <a:pt x="289" y="252"/>
                    <a:pt x="289" y="252"/>
                    <a:pt x="289" y="252"/>
                  </a:cubicBezTo>
                  <a:lnTo>
                    <a:pt x="320" y="252"/>
                  </a:lnTo>
                  <a:close/>
                  <a:moveTo>
                    <a:pt x="95" y="257"/>
                  </a:moveTo>
                  <a:cubicBezTo>
                    <a:pt x="162" y="257"/>
                    <a:pt x="187" y="220"/>
                    <a:pt x="187" y="184"/>
                  </a:cubicBezTo>
                  <a:cubicBezTo>
                    <a:pt x="187" y="91"/>
                    <a:pt x="40" y="123"/>
                    <a:pt x="40" y="67"/>
                  </a:cubicBezTo>
                  <a:cubicBezTo>
                    <a:pt x="40" y="44"/>
                    <a:pt x="61" y="28"/>
                    <a:pt x="91" y="28"/>
                  </a:cubicBezTo>
                  <a:cubicBezTo>
                    <a:pt x="118" y="28"/>
                    <a:pt x="144" y="37"/>
                    <a:pt x="163" y="57"/>
                  </a:cubicBezTo>
                  <a:cubicBezTo>
                    <a:pt x="181" y="35"/>
                    <a:pt x="181" y="35"/>
                    <a:pt x="181" y="35"/>
                  </a:cubicBezTo>
                  <a:cubicBezTo>
                    <a:pt x="161" y="13"/>
                    <a:pt x="131" y="0"/>
                    <a:pt x="93" y="0"/>
                  </a:cubicBezTo>
                  <a:cubicBezTo>
                    <a:pt x="44" y="0"/>
                    <a:pt x="8" y="28"/>
                    <a:pt x="8" y="69"/>
                  </a:cubicBezTo>
                  <a:cubicBezTo>
                    <a:pt x="8" y="158"/>
                    <a:pt x="155" y="122"/>
                    <a:pt x="155" y="186"/>
                  </a:cubicBezTo>
                  <a:cubicBezTo>
                    <a:pt x="155" y="205"/>
                    <a:pt x="141" y="229"/>
                    <a:pt x="97" y="229"/>
                  </a:cubicBezTo>
                  <a:cubicBezTo>
                    <a:pt x="61" y="229"/>
                    <a:pt x="35" y="212"/>
                    <a:pt x="18" y="194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20" y="240"/>
                    <a:pt x="52" y="257"/>
                    <a:pt x="95" y="257"/>
                  </a:cubicBezTo>
                  <a:close/>
                </a:path>
              </a:pathLst>
            </a:custGeom>
            <a:solidFill>
              <a:srgbClr val="0101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5B3A0309-2975-4C93-9F97-3985D03965BB}"/>
              </a:ext>
            </a:extLst>
          </p:cNvPr>
          <p:cNvGrpSpPr/>
          <p:nvPr userDrawn="1"/>
        </p:nvGrpSpPr>
        <p:grpSpPr>
          <a:xfrm>
            <a:off x="1" y="1588"/>
            <a:ext cx="5521325" cy="6856412"/>
            <a:chOff x="1" y="1588"/>
            <a:chExt cx="5521325" cy="6856412"/>
          </a:xfrm>
        </p:grpSpPr>
        <p:sp>
          <p:nvSpPr>
            <p:cNvPr id="54" name="Freeform 5">
              <a:extLst>
                <a:ext uri="{FF2B5EF4-FFF2-40B4-BE49-F238E27FC236}">
                  <a16:creationId xmlns:a16="http://schemas.microsoft.com/office/drawing/2014/main" id="{D3E8E4A8-D9C9-4933-BB4C-73430027D1AB}"/>
                </a:ext>
              </a:extLst>
            </p:cNvPr>
            <p:cNvSpPr>
              <a:spLocks/>
            </p:cNvSpPr>
            <p:nvPr/>
          </p:nvSpPr>
          <p:spPr bwMode="auto">
            <a:xfrm>
              <a:off x="1" y="1588"/>
              <a:ext cx="5172075" cy="6856412"/>
            </a:xfrm>
            <a:custGeom>
              <a:avLst/>
              <a:gdLst>
                <a:gd name="T0" fmla="*/ 0 w 3258"/>
                <a:gd name="T1" fmla="*/ 0 h 4319"/>
                <a:gd name="T2" fmla="*/ 1739 w 3258"/>
                <a:gd name="T3" fmla="*/ 0 h 4319"/>
                <a:gd name="T4" fmla="*/ 2581 w 3258"/>
                <a:gd name="T5" fmla="*/ 699 h 4319"/>
                <a:gd name="T6" fmla="*/ 3258 w 3258"/>
                <a:gd name="T7" fmla="*/ 1888 h 4319"/>
                <a:gd name="T8" fmla="*/ 2643 w 3258"/>
                <a:gd name="T9" fmla="*/ 4319 h 4319"/>
                <a:gd name="T10" fmla="*/ 0 w 3258"/>
                <a:gd name="T11" fmla="*/ 4319 h 4319"/>
                <a:gd name="T12" fmla="*/ 0 w 3258"/>
                <a:gd name="T13" fmla="*/ 0 h 4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58" h="4319">
                  <a:moveTo>
                    <a:pt x="0" y="0"/>
                  </a:moveTo>
                  <a:lnTo>
                    <a:pt x="1739" y="0"/>
                  </a:lnTo>
                  <a:lnTo>
                    <a:pt x="2581" y="699"/>
                  </a:lnTo>
                  <a:lnTo>
                    <a:pt x="3258" y="1888"/>
                  </a:lnTo>
                  <a:lnTo>
                    <a:pt x="2643" y="4319"/>
                  </a:lnTo>
                  <a:lnTo>
                    <a:pt x="0" y="431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C20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6">
              <a:extLst>
                <a:ext uri="{FF2B5EF4-FFF2-40B4-BE49-F238E27FC236}">
                  <a16:creationId xmlns:a16="http://schemas.microsoft.com/office/drawing/2014/main" id="{538E82DF-9AD5-4263-B7E8-A914AF38EB4D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0663" y="1588"/>
              <a:ext cx="1336675" cy="1109662"/>
            </a:xfrm>
            <a:custGeom>
              <a:avLst/>
              <a:gdLst>
                <a:gd name="T0" fmla="*/ 842 w 842"/>
                <a:gd name="T1" fmla="*/ 699 h 699"/>
                <a:gd name="T2" fmla="*/ 443 w 842"/>
                <a:gd name="T3" fmla="*/ 0 h 699"/>
                <a:gd name="T4" fmla="*/ 0 w 842"/>
                <a:gd name="T5" fmla="*/ 0 h 699"/>
                <a:gd name="T6" fmla="*/ 842 w 842"/>
                <a:gd name="T7" fmla="*/ 699 h 6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42" h="699">
                  <a:moveTo>
                    <a:pt x="842" y="699"/>
                  </a:moveTo>
                  <a:lnTo>
                    <a:pt x="443" y="0"/>
                  </a:lnTo>
                  <a:lnTo>
                    <a:pt x="0" y="0"/>
                  </a:lnTo>
                  <a:lnTo>
                    <a:pt x="842" y="699"/>
                  </a:lnTo>
                  <a:close/>
                </a:path>
              </a:pathLst>
            </a:custGeom>
            <a:solidFill>
              <a:srgbClr val="F9AC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7">
              <a:extLst>
                <a:ext uri="{FF2B5EF4-FFF2-40B4-BE49-F238E27FC236}">
                  <a16:creationId xmlns:a16="http://schemas.microsoft.com/office/drawing/2014/main" id="{A238FDA5-CB9D-46CB-96F5-9EF266BD4E8F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9412" y="1588"/>
              <a:ext cx="1306513" cy="1670050"/>
            </a:xfrm>
            <a:custGeom>
              <a:avLst/>
              <a:gdLst>
                <a:gd name="T0" fmla="*/ 0 w 823"/>
                <a:gd name="T1" fmla="*/ 0 h 1052"/>
                <a:gd name="T2" fmla="*/ 399 w 823"/>
                <a:gd name="T3" fmla="*/ 699 h 1052"/>
                <a:gd name="T4" fmla="*/ 823 w 823"/>
                <a:gd name="T5" fmla="*/ 1052 h 1052"/>
                <a:gd name="T6" fmla="*/ 531 w 823"/>
                <a:gd name="T7" fmla="*/ 0 h 1052"/>
                <a:gd name="T8" fmla="*/ 0 w 823"/>
                <a:gd name="T9" fmla="*/ 0 h 10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23" h="1052">
                  <a:moveTo>
                    <a:pt x="0" y="0"/>
                  </a:moveTo>
                  <a:lnTo>
                    <a:pt x="399" y="699"/>
                  </a:lnTo>
                  <a:lnTo>
                    <a:pt x="823" y="1052"/>
                  </a:lnTo>
                  <a:lnTo>
                    <a:pt x="53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47D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8">
              <a:extLst>
                <a:ext uri="{FF2B5EF4-FFF2-40B4-BE49-F238E27FC236}">
                  <a16:creationId xmlns:a16="http://schemas.microsoft.com/office/drawing/2014/main" id="{0DA1ACCF-469A-4B7F-A862-D690C90715AE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7338" y="1111250"/>
              <a:ext cx="1009650" cy="1774825"/>
            </a:xfrm>
            <a:custGeom>
              <a:avLst/>
              <a:gdLst>
                <a:gd name="T0" fmla="*/ 424 w 636"/>
                <a:gd name="T1" fmla="*/ 353 h 1118"/>
                <a:gd name="T2" fmla="*/ 0 w 636"/>
                <a:gd name="T3" fmla="*/ 0 h 1118"/>
                <a:gd name="T4" fmla="*/ 636 w 636"/>
                <a:gd name="T5" fmla="*/ 1118 h 1118"/>
                <a:gd name="T6" fmla="*/ 424 w 636"/>
                <a:gd name="T7" fmla="*/ 353 h 1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36" h="1118">
                  <a:moveTo>
                    <a:pt x="424" y="353"/>
                  </a:moveTo>
                  <a:lnTo>
                    <a:pt x="0" y="0"/>
                  </a:lnTo>
                  <a:lnTo>
                    <a:pt x="636" y="1118"/>
                  </a:lnTo>
                  <a:lnTo>
                    <a:pt x="424" y="353"/>
                  </a:lnTo>
                  <a:close/>
                </a:path>
              </a:pathLst>
            </a:custGeom>
            <a:solidFill>
              <a:srgbClr val="F155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9">
              <a:extLst>
                <a:ext uri="{FF2B5EF4-FFF2-40B4-BE49-F238E27FC236}">
                  <a16:creationId xmlns:a16="http://schemas.microsoft.com/office/drawing/2014/main" id="{4C7A0D88-1167-4897-B138-B6B7CDB1EA2B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0438" y="1671638"/>
              <a:ext cx="750888" cy="1327150"/>
            </a:xfrm>
            <a:custGeom>
              <a:avLst/>
              <a:gdLst>
                <a:gd name="T0" fmla="*/ 0 w 473"/>
                <a:gd name="T1" fmla="*/ 0 h 836"/>
                <a:gd name="T2" fmla="*/ 212 w 473"/>
                <a:gd name="T3" fmla="*/ 765 h 836"/>
                <a:gd name="T4" fmla="*/ 253 w 473"/>
                <a:gd name="T5" fmla="*/ 836 h 836"/>
                <a:gd name="T6" fmla="*/ 473 w 473"/>
                <a:gd name="T7" fmla="*/ 393 h 836"/>
                <a:gd name="T8" fmla="*/ 0 w 473"/>
                <a:gd name="T9" fmla="*/ 0 h 8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3" h="836">
                  <a:moveTo>
                    <a:pt x="0" y="0"/>
                  </a:moveTo>
                  <a:lnTo>
                    <a:pt x="212" y="765"/>
                  </a:lnTo>
                  <a:lnTo>
                    <a:pt x="253" y="836"/>
                  </a:lnTo>
                  <a:lnTo>
                    <a:pt x="473" y="39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9AC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10">
              <a:extLst>
                <a:ext uri="{FF2B5EF4-FFF2-40B4-BE49-F238E27FC236}">
                  <a16:creationId xmlns:a16="http://schemas.microsoft.com/office/drawing/2014/main" id="{5F3C4916-2505-414E-8842-4350AC6FF9A4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9701" y="3040063"/>
              <a:ext cx="1412875" cy="2417762"/>
            </a:xfrm>
            <a:custGeom>
              <a:avLst/>
              <a:gdLst>
                <a:gd name="T0" fmla="*/ 756 w 890"/>
                <a:gd name="T1" fmla="*/ 0 h 1523"/>
                <a:gd name="T2" fmla="*/ 0 w 890"/>
                <a:gd name="T3" fmla="*/ 1523 h 1523"/>
                <a:gd name="T4" fmla="*/ 890 w 890"/>
                <a:gd name="T5" fmla="*/ 477 h 1523"/>
                <a:gd name="T6" fmla="*/ 756 w 890"/>
                <a:gd name="T7" fmla="*/ 0 h 1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90" h="1523">
                  <a:moveTo>
                    <a:pt x="756" y="0"/>
                  </a:moveTo>
                  <a:lnTo>
                    <a:pt x="0" y="1523"/>
                  </a:lnTo>
                  <a:lnTo>
                    <a:pt x="890" y="477"/>
                  </a:lnTo>
                  <a:lnTo>
                    <a:pt x="756" y="0"/>
                  </a:lnTo>
                  <a:close/>
                </a:path>
              </a:pathLst>
            </a:custGeom>
            <a:solidFill>
              <a:srgbClr val="F155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11">
              <a:extLst>
                <a:ext uri="{FF2B5EF4-FFF2-40B4-BE49-F238E27FC236}">
                  <a16:creationId xmlns:a16="http://schemas.microsoft.com/office/drawing/2014/main" id="{50FD003D-E551-42A8-9CE2-B16BE0E214CC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9093" y="2998788"/>
              <a:ext cx="371475" cy="798512"/>
            </a:xfrm>
            <a:custGeom>
              <a:avLst/>
              <a:gdLst>
                <a:gd name="T0" fmla="*/ 0 w 234"/>
                <a:gd name="T1" fmla="*/ 26 h 503"/>
                <a:gd name="T2" fmla="*/ 134 w 234"/>
                <a:gd name="T3" fmla="*/ 503 h 503"/>
                <a:gd name="T4" fmla="*/ 234 w 234"/>
                <a:gd name="T5" fmla="*/ 386 h 503"/>
                <a:gd name="T6" fmla="*/ 14 w 234"/>
                <a:gd name="T7" fmla="*/ 0 h 503"/>
                <a:gd name="T8" fmla="*/ 0 w 234"/>
                <a:gd name="T9" fmla="*/ 26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4" h="503">
                  <a:moveTo>
                    <a:pt x="0" y="26"/>
                  </a:moveTo>
                  <a:lnTo>
                    <a:pt x="134" y="503"/>
                  </a:lnTo>
                  <a:lnTo>
                    <a:pt x="234" y="386"/>
                  </a:lnTo>
                  <a:lnTo>
                    <a:pt x="14" y="0"/>
                  </a:lnTo>
                  <a:lnTo>
                    <a:pt x="0" y="26"/>
                  </a:lnTo>
                  <a:close/>
                </a:path>
              </a:pathLst>
            </a:custGeom>
            <a:solidFill>
              <a:srgbClr val="D025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12">
              <a:extLst>
                <a:ext uri="{FF2B5EF4-FFF2-40B4-BE49-F238E27FC236}">
                  <a16:creationId xmlns:a16="http://schemas.microsoft.com/office/drawing/2014/main" id="{9205ADD0-59C2-4956-9534-5A3ACEF38902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4376" y="3797300"/>
              <a:ext cx="2266950" cy="3060700"/>
            </a:xfrm>
            <a:custGeom>
              <a:avLst/>
              <a:gdLst>
                <a:gd name="T0" fmla="*/ 1328 w 1428"/>
                <a:gd name="T1" fmla="*/ 0 h 1928"/>
                <a:gd name="T2" fmla="*/ 438 w 1428"/>
                <a:gd name="T3" fmla="*/ 1046 h 1928"/>
                <a:gd name="T4" fmla="*/ 0 w 1428"/>
                <a:gd name="T5" fmla="*/ 1928 h 1928"/>
                <a:gd name="T6" fmla="*/ 593 w 1428"/>
                <a:gd name="T7" fmla="*/ 1928 h 1928"/>
                <a:gd name="T8" fmla="*/ 1428 w 1428"/>
                <a:gd name="T9" fmla="*/ 363 h 1928"/>
                <a:gd name="T10" fmla="*/ 1328 w 1428"/>
                <a:gd name="T11" fmla="*/ 0 h 19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28" h="1928">
                  <a:moveTo>
                    <a:pt x="1328" y="0"/>
                  </a:moveTo>
                  <a:lnTo>
                    <a:pt x="438" y="1046"/>
                  </a:lnTo>
                  <a:lnTo>
                    <a:pt x="0" y="1928"/>
                  </a:lnTo>
                  <a:lnTo>
                    <a:pt x="593" y="1928"/>
                  </a:lnTo>
                  <a:lnTo>
                    <a:pt x="1428" y="363"/>
                  </a:lnTo>
                  <a:lnTo>
                    <a:pt x="1328" y="0"/>
                  </a:lnTo>
                  <a:close/>
                </a:path>
              </a:pathLst>
            </a:custGeom>
            <a:solidFill>
              <a:srgbClr val="931A1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13">
              <a:extLst>
                <a:ext uri="{FF2B5EF4-FFF2-40B4-BE49-F238E27FC236}">
                  <a16:creationId xmlns:a16="http://schemas.microsoft.com/office/drawing/2014/main" id="{E827900F-125D-4EED-89E7-35EF03F8F2B6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0663" y="5457825"/>
              <a:ext cx="1189038" cy="1400175"/>
            </a:xfrm>
            <a:custGeom>
              <a:avLst/>
              <a:gdLst>
                <a:gd name="T0" fmla="*/ 311 w 749"/>
                <a:gd name="T1" fmla="*/ 882 h 882"/>
                <a:gd name="T2" fmla="*/ 749 w 749"/>
                <a:gd name="T3" fmla="*/ 0 h 882"/>
                <a:gd name="T4" fmla="*/ 0 w 749"/>
                <a:gd name="T5" fmla="*/ 882 h 882"/>
                <a:gd name="T6" fmla="*/ 311 w 749"/>
                <a:gd name="T7" fmla="*/ 882 h 8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49" h="882">
                  <a:moveTo>
                    <a:pt x="311" y="882"/>
                  </a:moveTo>
                  <a:lnTo>
                    <a:pt x="749" y="0"/>
                  </a:lnTo>
                  <a:lnTo>
                    <a:pt x="0" y="882"/>
                  </a:lnTo>
                  <a:lnTo>
                    <a:pt x="311" y="882"/>
                  </a:lnTo>
                  <a:close/>
                </a:path>
              </a:pathLst>
            </a:custGeom>
            <a:solidFill>
              <a:srgbClr val="F47D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3" name="Group 62">
            <a:extLst>
              <a:ext uri="{FF2B5EF4-FFF2-40B4-BE49-F238E27FC236}">
                <a16:creationId xmlns:a16="http://schemas.microsoft.com/office/drawing/2014/main" id="{3C164691-80AE-4334-9DDE-FD0C29748728}"/>
              </a:ext>
            </a:extLst>
          </p:cNvPr>
          <p:cNvGrpSpPr>
            <a:grpSpLocks/>
          </p:cNvGrpSpPr>
          <p:nvPr userDrawn="1"/>
        </p:nvGrpSpPr>
        <p:grpSpPr>
          <a:xfrm>
            <a:off x="6253390" y="1873690"/>
            <a:ext cx="2445002" cy="586989"/>
            <a:chOff x="4124325" y="4591050"/>
            <a:chExt cx="2479675" cy="595313"/>
          </a:xfrm>
        </p:grpSpPr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F242D30B-BBDC-4381-8E91-1F9A1BF93DD2}"/>
                </a:ext>
              </a:extLst>
            </p:cNvPr>
            <p:cNvGrpSpPr/>
            <p:nvPr/>
          </p:nvGrpSpPr>
          <p:grpSpPr>
            <a:xfrm>
              <a:off x="4124325" y="4591050"/>
              <a:ext cx="460375" cy="595313"/>
              <a:chOff x="4124325" y="4591050"/>
              <a:chExt cx="460375" cy="595313"/>
            </a:xfrm>
          </p:grpSpPr>
          <p:sp>
            <p:nvSpPr>
              <p:cNvPr id="66" name="Freeform 25">
                <a:extLst>
                  <a:ext uri="{FF2B5EF4-FFF2-40B4-BE49-F238E27FC236}">
                    <a16:creationId xmlns:a16="http://schemas.microsoft.com/office/drawing/2014/main" id="{9CBD06A3-B27E-4B45-A634-CF31A18898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4325" y="4983163"/>
                <a:ext cx="457200" cy="203200"/>
              </a:xfrm>
              <a:custGeom>
                <a:avLst/>
                <a:gdLst>
                  <a:gd name="T0" fmla="*/ 143 w 288"/>
                  <a:gd name="T1" fmla="*/ 66 h 128"/>
                  <a:gd name="T2" fmla="*/ 228 w 288"/>
                  <a:gd name="T3" fmla="*/ 23 h 128"/>
                  <a:gd name="T4" fmla="*/ 283 w 288"/>
                  <a:gd name="T5" fmla="*/ 0 h 128"/>
                  <a:gd name="T6" fmla="*/ 288 w 288"/>
                  <a:gd name="T7" fmla="*/ 3 h 128"/>
                  <a:gd name="T8" fmla="*/ 283 w 288"/>
                  <a:gd name="T9" fmla="*/ 62 h 128"/>
                  <a:gd name="T10" fmla="*/ 156 w 288"/>
                  <a:gd name="T11" fmla="*/ 128 h 128"/>
                  <a:gd name="T12" fmla="*/ 131 w 288"/>
                  <a:gd name="T13" fmla="*/ 128 h 128"/>
                  <a:gd name="T14" fmla="*/ 4 w 288"/>
                  <a:gd name="T15" fmla="*/ 62 h 128"/>
                  <a:gd name="T16" fmla="*/ 0 w 288"/>
                  <a:gd name="T17" fmla="*/ 3 h 128"/>
                  <a:gd name="T18" fmla="*/ 4 w 288"/>
                  <a:gd name="T19" fmla="*/ 0 h 128"/>
                  <a:gd name="T20" fmla="*/ 59 w 288"/>
                  <a:gd name="T21" fmla="*/ 23 h 128"/>
                  <a:gd name="T22" fmla="*/ 143 w 288"/>
                  <a:gd name="T23" fmla="*/ 66 h 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88" h="128">
                    <a:moveTo>
                      <a:pt x="143" y="66"/>
                    </a:moveTo>
                    <a:lnTo>
                      <a:pt x="228" y="23"/>
                    </a:lnTo>
                    <a:lnTo>
                      <a:pt x="283" y="0"/>
                    </a:lnTo>
                    <a:lnTo>
                      <a:pt x="288" y="3"/>
                    </a:lnTo>
                    <a:lnTo>
                      <a:pt x="283" y="62"/>
                    </a:lnTo>
                    <a:lnTo>
                      <a:pt x="156" y="128"/>
                    </a:lnTo>
                    <a:lnTo>
                      <a:pt x="131" y="128"/>
                    </a:lnTo>
                    <a:lnTo>
                      <a:pt x="4" y="62"/>
                    </a:lnTo>
                    <a:lnTo>
                      <a:pt x="0" y="3"/>
                    </a:lnTo>
                    <a:lnTo>
                      <a:pt x="4" y="0"/>
                    </a:lnTo>
                    <a:lnTo>
                      <a:pt x="59" y="23"/>
                    </a:lnTo>
                    <a:lnTo>
                      <a:pt x="143" y="66"/>
                    </a:lnTo>
                    <a:close/>
                  </a:path>
                </a:pathLst>
              </a:custGeom>
              <a:solidFill>
                <a:srgbClr val="F155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6">
                <a:extLst>
                  <a:ext uri="{FF2B5EF4-FFF2-40B4-BE49-F238E27FC236}">
                    <a16:creationId xmlns:a16="http://schemas.microsoft.com/office/drawing/2014/main" id="{41B8CC5A-8F1B-4692-9AA7-260A6D66B0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4325" y="4689475"/>
                <a:ext cx="457200" cy="403225"/>
              </a:xfrm>
              <a:custGeom>
                <a:avLst/>
                <a:gdLst>
                  <a:gd name="T0" fmla="*/ 288 w 288"/>
                  <a:gd name="T1" fmla="*/ 188 h 254"/>
                  <a:gd name="T2" fmla="*/ 283 w 288"/>
                  <a:gd name="T3" fmla="*/ 247 h 254"/>
                  <a:gd name="T4" fmla="*/ 270 w 288"/>
                  <a:gd name="T5" fmla="*/ 254 h 254"/>
                  <a:gd name="T6" fmla="*/ 0 w 288"/>
                  <a:gd name="T7" fmla="*/ 17 h 254"/>
                  <a:gd name="T8" fmla="*/ 0 w 288"/>
                  <a:gd name="T9" fmla="*/ 11 h 254"/>
                  <a:gd name="T10" fmla="*/ 72 w 288"/>
                  <a:gd name="T11" fmla="*/ 0 h 254"/>
                  <a:gd name="T12" fmla="*/ 288 w 288"/>
                  <a:gd name="T13" fmla="*/ 188 h 2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8" h="254">
                    <a:moveTo>
                      <a:pt x="288" y="188"/>
                    </a:moveTo>
                    <a:lnTo>
                      <a:pt x="283" y="247"/>
                    </a:lnTo>
                    <a:lnTo>
                      <a:pt x="270" y="254"/>
                    </a:lnTo>
                    <a:lnTo>
                      <a:pt x="0" y="17"/>
                    </a:lnTo>
                    <a:lnTo>
                      <a:pt x="0" y="11"/>
                    </a:lnTo>
                    <a:lnTo>
                      <a:pt x="72" y="0"/>
                    </a:lnTo>
                    <a:lnTo>
                      <a:pt x="288" y="188"/>
                    </a:lnTo>
                    <a:close/>
                  </a:path>
                </a:pathLst>
              </a:custGeom>
              <a:solidFill>
                <a:srgbClr val="BC202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7">
                <a:extLst>
                  <a:ext uri="{FF2B5EF4-FFF2-40B4-BE49-F238E27FC236}">
                    <a16:creationId xmlns:a16="http://schemas.microsoft.com/office/drawing/2014/main" id="{D4F1B01B-0742-4918-977E-D943C60188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4325" y="4867275"/>
                <a:ext cx="209550" cy="225425"/>
              </a:xfrm>
              <a:custGeom>
                <a:avLst/>
                <a:gdLst>
                  <a:gd name="T0" fmla="*/ 17 w 132"/>
                  <a:gd name="T1" fmla="*/ 142 h 142"/>
                  <a:gd name="T2" fmla="*/ 4 w 132"/>
                  <a:gd name="T3" fmla="*/ 135 h 142"/>
                  <a:gd name="T4" fmla="*/ 0 w 132"/>
                  <a:gd name="T5" fmla="*/ 76 h 142"/>
                  <a:gd name="T6" fmla="*/ 86 w 132"/>
                  <a:gd name="T7" fmla="*/ 0 h 142"/>
                  <a:gd name="T8" fmla="*/ 132 w 132"/>
                  <a:gd name="T9" fmla="*/ 41 h 142"/>
                  <a:gd name="T10" fmla="*/ 17 w 132"/>
                  <a:gd name="T11" fmla="*/ 142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2" h="142">
                    <a:moveTo>
                      <a:pt x="17" y="142"/>
                    </a:moveTo>
                    <a:lnTo>
                      <a:pt x="4" y="135"/>
                    </a:lnTo>
                    <a:lnTo>
                      <a:pt x="0" y="76"/>
                    </a:lnTo>
                    <a:lnTo>
                      <a:pt x="86" y="0"/>
                    </a:lnTo>
                    <a:lnTo>
                      <a:pt x="132" y="41"/>
                    </a:lnTo>
                    <a:lnTo>
                      <a:pt x="17" y="142"/>
                    </a:lnTo>
                    <a:close/>
                  </a:path>
                </a:pathLst>
              </a:custGeom>
              <a:solidFill>
                <a:srgbClr val="931A1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8">
                <a:extLst>
                  <a:ext uri="{FF2B5EF4-FFF2-40B4-BE49-F238E27FC236}">
                    <a16:creationId xmlns:a16="http://schemas.microsoft.com/office/drawing/2014/main" id="{CB00117D-0773-4E5C-BE8E-BE95376155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4325" y="4591050"/>
                <a:ext cx="381000" cy="130175"/>
              </a:xfrm>
              <a:custGeom>
                <a:avLst/>
                <a:gdLst>
                  <a:gd name="T0" fmla="*/ 143 w 240"/>
                  <a:gd name="T1" fmla="*/ 60 h 82"/>
                  <a:gd name="T2" fmla="*/ 3 w 240"/>
                  <a:gd name="T3" fmla="*/ 82 h 82"/>
                  <a:gd name="T4" fmla="*/ 0 w 240"/>
                  <a:gd name="T5" fmla="*/ 79 h 82"/>
                  <a:gd name="T6" fmla="*/ 4 w 240"/>
                  <a:gd name="T7" fmla="*/ 21 h 82"/>
                  <a:gd name="T8" fmla="*/ 139 w 240"/>
                  <a:gd name="T9" fmla="*/ 0 h 82"/>
                  <a:gd name="T10" fmla="*/ 147 w 240"/>
                  <a:gd name="T11" fmla="*/ 0 h 82"/>
                  <a:gd name="T12" fmla="*/ 240 w 240"/>
                  <a:gd name="T13" fmla="*/ 14 h 82"/>
                  <a:gd name="T14" fmla="*/ 240 w 240"/>
                  <a:gd name="T15" fmla="*/ 76 h 82"/>
                  <a:gd name="T16" fmla="*/ 143 w 240"/>
                  <a:gd name="T17" fmla="*/ 60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40" h="82">
                    <a:moveTo>
                      <a:pt x="143" y="60"/>
                    </a:moveTo>
                    <a:lnTo>
                      <a:pt x="3" y="82"/>
                    </a:lnTo>
                    <a:lnTo>
                      <a:pt x="0" y="79"/>
                    </a:lnTo>
                    <a:lnTo>
                      <a:pt x="4" y="21"/>
                    </a:lnTo>
                    <a:lnTo>
                      <a:pt x="139" y="0"/>
                    </a:lnTo>
                    <a:lnTo>
                      <a:pt x="147" y="0"/>
                    </a:lnTo>
                    <a:lnTo>
                      <a:pt x="240" y="14"/>
                    </a:lnTo>
                    <a:lnTo>
                      <a:pt x="240" y="76"/>
                    </a:lnTo>
                    <a:lnTo>
                      <a:pt x="143" y="60"/>
                    </a:lnTo>
                    <a:close/>
                  </a:path>
                </a:pathLst>
              </a:custGeom>
              <a:solidFill>
                <a:srgbClr val="F47D6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29">
                <a:extLst>
                  <a:ext uri="{FF2B5EF4-FFF2-40B4-BE49-F238E27FC236}">
                    <a16:creationId xmlns:a16="http://schemas.microsoft.com/office/drawing/2014/main" id="{BC663994-1881-4026-A387-3342D9BFF4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89450" y="4610100"/>
                <a:ext cx="95250" cy="207962"/>
              </a:xfrm>
              <a:custGeom>
                <a:avLst/>
                <a:gdLst>
                  <a:gd name="T0" fmla="*/ 0 w 60"/>
                  <a:gd name="T1" fmla="*/ 131 h 131"/>
                  <a:gd name="T2" fmla="*/ 0 w 60"/>
                  <a:gd name="T3" fmla="*/ 0 h 131"/>
                  <a:gd name="T4" fmla="*/ 37 w 60"/>
                  <a:gd name="T5" fmla="*/ 6 h 131"/>
                  <a:gd name="T6" fmla="*/ 60 w 60"/>
                  <a:gd name="T7" fmla="*/ 34 h 131"/>
                  <a:gd name="T8" fmla="*/ 60 w 60"/>
                  <a:gd name="T9" fmla="*/ 106 h 131"/>
                  <a:gd name="T10" fmla="*/ 0 w 60"/>
                  <a:gd name="T11" fmla="*/ 131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0" h="131">
                    <a:moveTo>
                      <a:pt x="0" y="131"/>
                    </a:moveTo>
                    <a:lnTo>
                      <a:pt x="0" y="0"/>
                    </a:lnTo>
                    <a:lnTo>
                      <a:pt x="37" y="6"/>
                    </a:lnTo>
                    <a:lnTo>
                      <a:pt x="60" y="34"/>
                    </a:lnTo>
                    <a:lnTo>
                      <a:pt x="60" y="106"/>
                    </a:lnTo>
                    <a:lnTo>
                      <a:pt x="0" y="131"/>
                    </a:lnTo>
                    <a:close/>
                  </a:path>
                </a:pathLst>
              </a:custGeom>
              <a:solidFill>
                <a:srgbClr val="F9AC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30">
                <a:extLst>
                  <a:ext uri="{FF2B5EF4-FFF2-40B4-BE49-F238E27FC236}">
                    <a16:creationId xmlns:a16="http://schemas.microsoft.com/office/drawing/2014/main" id="{FFB83203-93C1-4B28-A674-7F72F5F853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65638" y="4606925"/>
                <a:ext cx="23812" cy="100012"/>
              </a:xfrm>
              <a:custGeom>
                <a:avLst/>
                <a:gdLst>
                  <a:gd name="T0" fmla="*/ 0 w 15"/>
                  <a:gd name="T1" fmla="*/ 61 h 63"/>
                  <a:gd name="T2" fmla="*/ 15 w 15"/>
                  <a:gd name="T3" fmla="*/ 63 h 63"/>
                  <a:gd name="T4" fmla="*/ 15 w 15"/>
                  <a:gd name="T5" fmla="*/ 2 h 63"/>
                  <a:gd name="T6" fmla="*/ 0 w 15"/>
                  <a:gd name="T7" fmla="*/ 0 h 63"/>
                  <a:gd name="T8" fmla="*/ 0 w 15"/>
                  <a:gd name="T9" fmla="*/ 61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63">
                    <a:moveTo>
                      <a:pt x="0" y="61"/>
                    </a:moveTo>
                    <a:lnTo>
                      <a:pt x="15" y="63"/>
                    </a:lnTo>
                    <a:lnTo>
                      <a:pt x="15" y="2"/>
                    </a:lnTo>
                    <a:lnTo>
                      <a:pt x="0" y="0"/>
                    </a:lnTo>
                    <a:lnTo>
                      <a:pt x="0" y="61"/>
                    </a:lnTo>
                    <a:close/>
                  </a:path>
                </a:pathLst>
              </a:custGeom>
              <a:solidFill>
                <a:srgbClr val="F155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31">
                <a:extLst>
                  <a:ext uri="{FF2B5EF4-FFF2-40B4-BE49-F238E27FC236}">
                    <a16:creationId xmlns:a16="http://schemas.microsoft.com/office/drawing/2014/main" id="{E653DA8B-8D08-45A4-91DE-B443FBA703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9088" y="4702175"/>
                <a:ext cx="147637" cy="39687"/>
              </a:xfrm>
              <a:custGeom>
                <a:avLst/>
                <a:gdLst>
                  <a:gd name="T0" fmla="*/ 15 w 93"/>
                  <a:gd name="T1" fmla="*/ 25 h 25"/>
                  <a:gd name="T2" fmla="*/ 93 w 93"/>
                  <a:gd name="T3" fmla="*/ 13 h 25"/>
                  <a:gd name="T4" fmla="*/ 78 w 93"/>
                  <a:gd name="T5" fmla="*/ 0 h 25"/>
                  <a:gd name="T6" fmla="*/ 0 w 93"/>
                  <a:gd name="T7" fmla="*/ 12 h 25"/>
                  <a:gd name="T8" fmla="*/ 15 w 93"/>
                  <a:gd name="T9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3" h="25">
                    <a:moveTo>
                      <a:pt x="15" y="25"/>
                    </a:moveTo>
                    <a:lnTo>
                      <a:pt x="93" y="13"/>
                    </a:lnTo>
                    <a:lnTo>
                      <a:pt x="78" y="0"/>
                    </a:lnTo>
                    <a:lnTo>
                      <a:pt x="0" y="12"/>
                    </a:lnTo>
                    <a:lnTo>
                      <a:pt x="15" y="25"/>
                    </a:lnTo>
                    <a:close/>
                  </a:path>
                </a:pathLst>
              </a:custGeom>
              <a:solidFill>
                <a:srgbClr val="931A1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Freeform 32">
                <a:extLst>
                  <a:ext uri="{FF2B5EF4-FFF2-40B4-BE49-F238E27FC236}">
                    <a16:creationId xmlns:a16="http://schemas.microsoft.com/office/drawing/2014/main" id="{F72A3AB5-B6D6-4143-9B78-1424B07955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52938" y="5022850"/>
                <a:ext cx="100012" cy="79375"/>
              </a:xfrm>
              <a:custGeom>
                <a:avLst/>
                <a:gdLst>
                  <a:gd name="T0" fmla="*/ 63 w 63"/>
                  <a:gd name="T1" fmla="*/ 44 h 50"/>
                  <a:gd name="T2" fmla="*/ 15 w 63"/>
                  <a:gd name="T3" fmla="*/ 0 h 50"/>
                  <a:gd name="T4" fmla="*/ 0 w 63"/>
                  <a:gd name="T5" fmla="*/ 8 h 50"/>
                  <a:gd name="T6" fmla="*/ 49 w 63"/>
                  <a:gd name="T7" fmla="*/ 50 h 50"/>
                  <a:gd name="T8" fmla="*/ 63 w 63"/>
                  <a:gd name="T9" fmla="*/ 44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3" h="50">
                    <a:moveTo>
                      <a:pt x="63" y="44"/>
                    </a:moveTo>
                    <a:lnTo>
                      <a:pt x="15" y="0"/>
                    </a:lnTo>
                    <a:lnTo>
                      <a:pt x="0" y="8"/>
                    </a:lnTo>
                    <a:lnTo>
                      <a:pt x="49" y="50"/>
                    </a:lnTo>
                    <a:lnTo>
                      <a:pt x="63" y="44"/>
                    </a:lnTo>
                    <a:close/>
                  </a:path>
                </a:pathLst>
              </a:custGeom>
              <a:solidFill>
                <a:srgbClr val="D025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33">
                <a:extLst>
                  <a:ext uri="{FF2B5EF4-FFF2-40B4-BE49-F238E27FC236}">
                    <a16:creationId xmlns:a16="http://schemas.microsoft.com/office/drawing/2014/main" id="{2C3B187D-A2DD-4A8F-81C9-EF3B23C402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51313" y="5022850"/>
                <a:ext cx="100012" cy="79375"/>
              </a:xfrm>
              <a:custGeom>
                <a:avLst/>
                <a:gdLst>
                  <a:gd name="T0" fmla="*/ 0 w 63"/>
                  <a:gd name="T1" fmla="*/ 44 h 50"/>
                  <a:gd name="T2" fmla="*/ 14 w 63"/>
                  <a:gd name="T3" fmla="*/ 50 h 50"/>
                  <a:gd name="T4" fmla="*/ 63 w 63"/>
                  <a:gd name="T5" fmla="*/ 8 h 50"/>
                  <a:gd name="T6" fmla="*/ 48 w 63"/>
                  <a:gd name="T7" fmla="*/ 0 h 50"/>
                  <a:gd name="T8" fmla="*/ 0 w 63"/>
                  <a:gd name="T9" fmla="*/ 44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3" h="50">
                    <a:moveTo>
                      <a:pt x="0" y="44"/>
                    </a:moveTo>
                    <a:lnTo>
                      <a:pt x="14" y="50"/>
                    </a:lnTo>
                    <a:lnTo>
                      <a:pt x="63" y="8"/>
                    </a:lnTo>
                    <a:lnTo>
                      <a:pt x="48" y="0"/>
                    </a:lnTo>
                    <a:lnTo>
                      <a:pt x="0" y="44"/>
                    </a:lnTo>
                    <a:close/>
                  </a:path>
                </a:pathLst>
              </a:custGeom>
              <a:solidFill>
                <a:srgbClr val="D025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65" name="Freeform 34">
              <a:extLst>
                <a:ext uri="{FF2B5EF4-FFF2-40B4-BE49-F238E27FC236}">
                  <a16:creationId xmlns:a16="http://schemas.microsoft.com/office/drawing/2014/main" id="{CC39647A-1EF7-44B7-B1F0-F5CF9359BC1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73625" y="4746625"/>
              <a:ext cx="1730375" cy="284162"/>
            </a:xfrm>
            <a:custGeom>
              <a:avLst/>
              <a:gdLst>
                <a:gd name="T0" fmla="*/ 1399 w 1571"/>
                <a:gd name="T1" fmla="*/ 170 h 257"/>
                <a:gd name="T2" fmla="*/ 1505 w 1571"/>
                <a:gd name="T3" fmla="*/ 170 h 257"/>
                <a:gd name="T4" fmla="*/ 1471 w 1571"/>
                <a:gd name="T5" fmla="*/ 4 h 257"/>
                <a:gd name="T6" fmla="*/ 1333 w 1571"/>
                <a:gd name="T7" fmla="*/ 252 h 257"/>
                <a:gd name="T8" fmla="*/ 1390 w 1571"/>
                <a:gd name="T9" fmla="*/ 197 h 257"/>
                <a:gd name="T10" fmla="*/ 1536 w 1571"/>
                <a:gd name="T11" fmla="*/ 252 h 257"/>
                <a:gd name="T12" fmla="*/ 1208 w 1571"/>
                <a:gd name="T13" fmla="*/ 252 h 257"/>
                <a:gd name="T14" fmla="*/ 1287 w 1571"/>
                <a:gd name="T15" fmla="*/ 31 h 257"/>
                <a:gd name="T16" fmla="*/ 1098 w 1571"/>
                <a:gd name="T17" fmla="*/ 4 h 257"/>
                <a:gd name="T18" fmla="*/ 1177 w 1571"/>
                <a:gd name="T19" fmla="*/ 31 h 257"/>
                <a:gd name="T20" fmla="*/ 1208 w 1571"/>
                <a:gd name="T21" fmla="*/ 252 h 257"/>
                <a:gd name="T22" fmla="*/ 867 w 1571"/>
                <a:gd name="T23" fmla="*/ 126 h 257"/>
                <a:gd name="T24" fmla="*/ 932 w 1571"/>
                <a:gd name="T25" fmla="*/ 31 h 257"/>
                <a:gd name="T26" fmla="*/ 932 w 1571"/>
                <a:gd name="T27" fmla="*/ 126 h 257"/>
                <a:gd name="T28" fmla="*/ 950 w 1571"/>
                <a:gd name="T29" fmla="*/ 151 h 257"/>
                <a:gd name="T30" fmla="*/ 936 w 1571"/>
                <a:gd name="T31" fmla="*/ 4 h 257"/>
                <a:gd name="T32" fmla="*/ 836 w 1571"/>
                <a:gd name="T33" fmla="*/ 252 h 257"/>
                <a:gd name="T34" fmla="*/ 867 w 1571"/>
                <a:gd name="T35" fmla="*/ 154 h 257"/>
                <a:gd name="T36" fmla="*/ 980 w 1571"/>
                <a:gd name="T37" fmla="*/ 252 h 257"/>
                <a:gd name="T38" fmla="*/ 681 w 1571"/>
                <a:gd name="T39" fmla="*/ 170 h 257"/>
                <a:gd name="T40" fmla="*/ 629 w 1571"/>
                <a:gd name="T41" fmla="*/ 36 h 257"/>
                <a:gd name="T42" fmla="*/ 748 w 1571"/>
                <a:gd name="T43" fmla="*/ 252 h 257"/>
                <a:gd name="T44" fmla="*/ 609 w 1571"/>
                <a:gd name="T45" fmla="*/ 4 h 257"/>
                <a:gd name="T46" fmla="*/ 545 w 1571"/>
                <a:gd name="T47" fmla="*/ 252 h 257"/>
                <a:gd name="T48" fmla="*/ 691 w 1571"/>
                <a:gd name="T49" fmla="*/ 197 h 257"/>
                <a:gd name="T50" fmla="*/ 748 w 1571"/>
                <a:gd name="T51" fmla="*/ 252 h 257"/>
                <a:gd name="T52" fmla="*/ 320 w 1571"/>
                <a:gd name="T53" fmla="*/ 126 h 257"/>
                <a:gd name="T54" fmla="*/ 385 w 1571"/>
                <a:gd name="T55" fmla="*/ 31 h 257"/>
                <a:gd name="T56" fmla="*/ 385 w 1571"/>
                <a:gd name="T57" fmla="*/ 126 h 257"/>
                <a:gd name="T58" fmla="*/ 320 w 1571"/>
                <a:gd name="T59" fmla="*/ 154 h 257"/>
                <a:gd name="T60" fmla="*/ 467 w 1571"/>
                <a:gd name="T61" fmla="*/ 79 h 257"/>
                <a:gd name="T62" fmla="*/ 289 w 1571"/>
                <a:gd name="T63" fmla="*/ 4 h 257"/>
                <a:gd name="T64" fmla="*/ 320 w 1571"/>
                <a:gd name="T65" fmla="*/ 252 h 257"/>
                <a:gd name="T66" fmla="*/ 187 w 1571"/>
                <a:gd name="T67" fmla="*/ 184 h 257"/>
                <a:gd name="T68" fmla="*/ 91 w 1571"/>
                <a:gd name="T69" fmla="*/ 28 h 257"/>
                <a:gd name="T70" fmla="*/ 181 w 1571"/>
                <a:gd name="T71" fmla="*/ 35 h 257"/>
                <a:gd name="T72" fmla="*/ 8 w 1571"/>
                <a:gd name="T73" fmla="*/ 69 h 257"/>
                <a:gd name="T74" fmla="*/ 97 w 1571"/>
                <a:gd name="T75" fmla="*/ 229 h 257"/>
                <a:gd name="T76" fmla="*/ 0 w 1571"/>
                <a:gd name="T77" fmla="*/ 217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571" h="257">
                  <a:moveTo>
                    <a:pt x="1505" y="170"/>
                  </a:moveTo>
                  <a:cubicBezTo>
                    <a:pt x="1399" y="170"/>
                    <a:pt x="1399" y="170"/>
                    <a:pt x="1399" y="170"/>
                  </a:cubicBezTo>
                  <a:cubicBezTo>
                    <a:pt x="1452" y="36"/>
                    <a:pt x="1452" y="36"/>
                    <a:pt x="1452" y="36"/>
                  </a:cubicBezTo>
                  <a:lnTo>
                    <a:pt x="1505" y="170"/>
                  </a:lnTo>
                  <a:close/>
                  <a:moveTo>
                    <a:pt x="1571" y="252"/>
                  </a:moveTo>
                  <a:cubicBezTo>
                    <a:pt x="1471" y="4"/>
                    <a:pt x="1471" y="4"/>
                    <a:pt x="1471" y="4"/>
                  </a:cubicBezTo>
                  <a:cubicBezTo>
                    <a:pt x="1433" y="4"/>
                    <a:pt x="1433" y="4"/>
                    <a:pt x="1433" y="4"/>
                  </a:cubicBezTo>
                  <a:cubicBezTo>
                    <a:pt x="1333" y="252"/>
                    <a:pt x="1333" y="252"/>
                    <a:pt x="1333" y="252"/>
                  </a:cubicBezTo>
                  <a:cubicBezTo>
                    <a:pt x="1368" y="252"/>
                    <a:pt x="1368" y="252"/>
                    <a:pt x="1368" y="252"/>
                  </a:cubicBezTo>
                  <a:cubicBezTo>
                    <a:pt x="1390" y="197"/>
                    <a:pt x="1390" y="197"/>
                    <a:pt x="1390" y="197"/>
                  </a:cubicBezTo>
                  <a:cubicBezTo>
                    <a:pt x="1514" y="197"/>
                    <a:pt x="1514" y="197"/>
                    <a:pt x="1514" y="197"/>
                  </a:cubicBezTo>
                  <a:cubicBezTo>
                    <a:pt x="1536" y="252"/>
                    <a:pt x="1536" y="252"/>
                    <a:pt x="1536" y="252"/>
                  </a:cubicBezTo>
                  <a:lnTo>
                    <a:pt x="1571" y="252"/>
                  </a:lnTo>
                  <a:close/>
                  <a:moveTo>
                    <a:pt x="1208" y="252"/>
                  </a:moveTo>
                  <a:cubicBezTo>
                    <a:pt x="1208" y="31"/>
                    <a:pt x="1208" y="31"/>
                    <a:pt x="1208" y="31"/>
                  </a:cubicBezTo>
                  <a:cubicBezTo>
                    <a:pt x="1287" y="31"/>
                    <a:pt x="1287" y="31"/>
                    <a:pt x="1287" y="31"/>
                  </a:cubicBezTo>
                  <a:cubicBezTo>
                    <a:pt x="1287" y="4"/>
                    <a:pt x="1287" y="4"/>
                    <a:pt x="1287" y="4"/>
                  </a:cubicBezTo>
                  <a:cubicBezTo>
                    <a:pt x="1098" y="4"/>
                    <a:pt x="1098" y="4"/>
                    <a:pt x="1098" y="4"/>
                  </a:cubicBezTo>
                  <a:cubicBezTo>
                    <a:pt x="1098" y="31"/>
                    <a:pt x="1098" y="31"/>
                    <a:pt x="1098" y="31"/>
                  </a:cubicBezTo>
                  <a:cubicBezTo>
                    <a:pt x="1177" y="31"/>
                    <a:pt x="1177" y="31"/>
                    <a:pt x="1177" y="31"/>
                  </a:cubicBezTo>
                  <a:cubicBezTo>
                    <a:pt x="1177" y="252"/>
                    <a:pt x="1177" y="252"/>
                    <a:pt x="1177" y="252"/>
                  </a:cubicBezTo>
                  <a:lnTo>
                    <a:pt x="1208" y="252"/>
                  </a:lnTo>
                  <a:close/>
                  <a:moveTo>
                    <a:pt x="932" y="126"/>
                  </a:moveTo>
                  <a:cubicBezTo>
                    <a:pt x="867" y="126"/>
                    <a:pt x="867" y="126"/>
                    <a:pt x="867" y="126"/>
                  </a:cubicBezTo>
                  <a:cubicBezTo>
                    <a:pt x="867" y="31"/>
                    <a:pt x="867" y="31"/>
                    <a:pt x="867" y="31"/>
                  </a:cubicBezTo>
                  <a:cubicBezTo>
                    <a:pt x="932" y="31"/>
                    <a:pt x="932" y="31"/>
                    <a:pt x="932" y="31"/>
                  </a:cubicBezTo>
                  <a:cubicBezTo>
                    <a:pt x="962" y="31"/>
                    <a:pt x="982" y="51"/>
                    <a:pt x="982" y="79"/>
                  </a:cubicBezTo>
                  <a:cubicBezTo>
                    <a:pt x="982" y="107"/>
                    <a:pt x="962" y="126"/>
                    <a:pt x="932" y="126"/>
                  </a:cubicBezTo>
                  <a:close/>
                  <a:moveTo>
                    <a:pt x="1017" y="252"/>
                  </a:moveTo>
                  <a:cubicBezTo>
                    <a:pt x="950" y="151"/>
                    <a:pt x="950" y="151"/>
                    <a:pt x="950" y="151"/>
                  </a:cubicBezTo>
                  <a:cubicBezTo>
                    <a:pt x="984" y="148"/>
                    <a:pt x="1014" y="123"/>
                    <a:pt x="1014" y="79"/>
                  </a:cubicBezTo>
                  <a:cubicBezTo>
                    <a:pt x="1014" y="33"/>
                    <a:pt x="982" y="4"/>
                    <a:pt x="936" y="4"/>
                  </a:cubicBezTo>
                  <a:cubicBezTo>
                    <a:pt x="836" y="4"/>
                    <a:pt x="836" y="4"/>
                    <a:pt x="836" y="4"/>
                  </a:cubicBezTo>
                  <a:cubicBezTo>
                    <a:pt x="836" y="252"/>
                    <a:pt x="836" y="252"/>
                    <a:pt x="836" y="252"/>
                  </a:cubicBezTo>
                  <a:cubicBezTo>
                    <a:pt x="867" y="252"/>
                    <a:pt x="867" y="252"/>
                    <a:pt x="867" y="252"/>
                  </a:cubicBezTo>
                  <a:cubicBezTo>
                    <a:pt x="867" y="154"/>
                    <a:pt x="867" y="154"/>
                    <a:pt x="867" y="154"/>
                  </a:cubicBezTo>
                  <a:cubicBezTo>
                    <a:pt x="917" y="154"/>
                    <a:pt x="917" y="154"/>
                    <a:pt x="917" y="154"/>
                  </a:cubicBezTo>
                  <a:cubicBezTo>
                    <a:pt x="980" y="252"/>
                    <a:pt x="980" y="252"/>
                    <a:pt x="980" y="252"/>
                  </a:cubicBezTo>
                  <a:lnTo>
                    <a:pt x="1017" y="252"/>
                  </a:lnTo>
                  <a:close/>
                  <a:moveTo>
                    <a:pt x="681" y="170"/>
                  </a:moveTo>
                  <a:cubicBezTo>
                    <a:pt x="576" y="170"/>
                    <a:pt x="576" y="170"/>
                    <a:pt x="576" y="170"/>
                  </a:cubicBezTo>
                  <a:cubicBezTo>
                    <a:pt x="629" y="36"/>
                    <a:pt x="629" y="36"/>
                    <a:pt x="629" y="36"/>
                  </a:cubicBezTo>
                  <a:lnTo>
                    <a:pt x="681" y="170"/>
                  </a:lnTo>
                  <a:close/>
                  <a:moveTo>
                    <a:pt x="748" y="252"/>
                  </a:moveTo>
                  <a:cubicBezTo>
                    <a:pt x="648" y="4"/>
                    <a:pt x="648" y="4"/>
                    <a:pt x="648" y="4"/>
                  </a:cubicBezTo>
                  <a:cubicBezTo>
                    <a:pt x="609" y="4"/>
                    <a:pt x="609" y="4"/>
                    <a:pt x="609" y="4"/>
                  </a:cubicBezTo>
                  <a:cubicBezTo>
                    <a:pt x="509" y="252"/>
                    <a:pt x="509" y="252"/>
                    <a:pt x="509" y="252"/>
                  </a:cubicBezTo>
                  <a:cubicBezTo>
                    <a:pt x="545" y="252"/>
                    <a:pt x="545" y="252"/>
                    <a:pt x="545" y="252"/>
                  </a:cubicBezTo>
                  <a:cubicBezTo>
                    <a:pt x="567" y="197"/>
                    <a:pt x="567" y="197"/>
                    <a:pt x="567" y="197"/>
                  </a:cubicBezTo>
                  <a:cubicBezTo>
                    <a:pt x="691" y="197"/>
                    <a:pt x="691" y="197"/>
                    <a:pt x="691" y="197"/>
                  </a:cubicBezTo>
                  <a:cubicBezTo>
                    <a:pt x="713" y="252"/>
                    <a:pt x="713" y="252"/>
                    <a:pt x="713" y="252"/>
                  </a:cubicBezTo>
                  <a:lnTo>
                    <a:pt x="748" y="252"/>
                  </a:lnTo>
                  <a:close/>
                  <a:moveTo>
                    <a:pt x="385" y="126"/>
                  </a:moveTo>
                  <a:cubicBezTo>
                    <a:pt x="320" y="126"/>
                    <a:pt x="320" y="126"/>
                    <a:pt x="320" y="126"/>
                  </a:cubicBezTo>
                  <a:cubicBezTo>
                    <a:pt x="320" y="31"/>
                    <a:pt x="320" y="31"/>
                    <a:pt x="320" y="31"/>
                  </a:cubicBezTo>
                  <a:cubicBezTo>
                    <a:pt x="385" y="31"/>
                    <a:pt x="385" y="31"/>
                    <a:pt x="385" y="31"/>
                  </a:cubicBezTo>
                  <a:cubicBezTo>
                    <a:pt x="415" y="31"/>
                    <a:pt x="435" y="51"/>
                    <a:pt x="435" y="79"/>
                  </a:cubicBezTo>
                  <a:cubicBezTo>
                    <a:pt x="435" y="107"/>
                    <a:pt x="415" y="126"/>
                    <a:pt x="385" y="126"/>
                  </a:cubicBezTo>
                  <a:close/>
                  <a:moveTo>
                    <a:pt x="320" y="252"/>
                  </a:moveTo>
                  <a:cubicBezTo>
                    <a:pt x="320" y="154"/>
                    <a:pt x="320" y="154"/>
                    <a:pt x="320" y="154"/>
                  </a:cubicBezTo>
                  <a:cubicBezTo>
                    <a:pt x="389" y="154"/>
                    <a:pt x="389" y="154"/>
                    <a:pt x="389" y="154"/>
                  </a:cubicBezTo>
                  <a:cubicBezTo>
                    <a:pt x="438" y="154"/>
                    <a:pt x="467" y="119"/>
                    <a:pt x="467" y="79"/>
                  </a:cubicBezTo>
                  <a:cubicBezTo>
                    <a:pt x="467" y="38"/>
                    <a:pt x="439" y="4"/>
                    <a:pt x="389" y="4"/>
                  </a:cubicBezTo>
                  <a:cubicBezTo>
                    <a:pt x="289" y="4"/>
                    <a:pt x="289" y="4"/>
                    <a:pt x="289" y="4"/>
                  </a:cubicBezTo>
                  <a:cubicBezTo>
                    <a:pt x="289" y="252"/>
                    <a:pt x="289" y="252"/>
                    <a:pt x="289" y="252"/>
                  </a:cubicBezTo>
                  <a:lnTo>
                    <a:pt x="320" y="252"/>
                  </a:lnTo>
                  <a:close/>
                  <a:moveTo>
                    <a:pt x="95" y="257"/>
                  </a:moveTo>
                  <a:cubicBezTo>
                    <a:pt x="162" y="257"/>
                    <a:pt x="187" y="220"/>
                    <a:pt x="187" y="184"/>
                  </a:cubicBezTo>
                  <a:cubicBezTo>
                    <a:pt x="187" y="91"/>
                    <a:pt x="40" y="123"/>
                    <a:pt x="40" y="67"/>
                  </a:cubicBezTo>
                  <a:cubicBezTo>
                    <a:pt x="40" y="44"/>
                    <a:pt x="61" y="28"/>
                    <a:pt x="91" y="28"/>
                  </a:cubicBezTo>
                  <a:cubicBezTo>
                    <a:pt x="118" y="28"/>
                    <a:pt x="144" y="37"/>
                    <a:pt x="163" y="57"/>
                  </a:cubicBezTo>
                  <a:cubicBezTo>
                    <a:pt x="181" y="35"/>
                    <a:pt x="181" y="35"/>
                    <a:pt x="181" y="35"/>
                  </a:cubicBezTo>
                  <a:cubicBezTo>
                    <a:pt x="161" y="13"/>
                    <a:pt x="131" y="0"/>
                    <a:pt x="93" y="0"/>
                  </a:cubicBezTo>
                  <a:cubicBezTo>
                    <a:pt x="44" y="0"/>
                    <a:pt x="8" y="28"/>
                    <a:pt x="8" y="69"/>
                  </a:cubicBezTo>
                  <a:cubicBezTo>
                    <a:pt x="8" y="158"/>
                    <a:pt x="155" y="122"/>
                    <a:pt x="155" y="186"/>
                  </a:cubicBezTo>
                  <a:cubicBezTo>
                    <a:pt x="155" y="205"/>
                    <a:pt x="141" y="229"/>
                    <a:pt x="97" y="229"/>
                  </a:cubicBezTo>
                  <a:cubicBezTo>
                    <a:pt x="61" y="229"/>
                    <a:pt x="35" y="212"/>
                    <a:pt x="18" y="194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20" y="240"/>
                    <a:pt x="52" y="257"/>
                    <a:pt x="95" y="257"/>
                  </a:cubicBezTo>
                  <a:close/>
                </a:path>
              </a:pathLst>
            </a:custGeom>
            <a:solidFill>
              <a:srgbClr val="0101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75" name="Picture 4" descr="https://europa.eu/european-union/sites/europaeu/files/docs/body/flag_white_low.jpg">
            <a:extLst>
              <a:ext uri="{FF2B5EF4-FFF2-40B4-BE49-F238E27FC236}">
                <a16:creationId xmlns:a16="http://schemas.microsoft.com/office/drawing/2014/main" id="{7106CD6F-6EF1-4EC1-A91F-EB4EC84E12D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0068" y="5372275"/>
            <a:ext cx="536499" cy="358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8" name="Text Placeholder 3">
            <a:extLst>
              <a:ext uri="{FF2B5EF4-FFF2-40B4-BE49-F238E27FC236}">
                <a16:creationId xmlns:a16="http://schemas.microsoft.com/office/drawing/2014/main" id="{1C66F88E-1955-4547-B710-0606D2ED3D4E}"/>
              </a:ext>
            </a:extLst>
          </p:cNvPr>
          <p:cNvSpPr txBox="1">
            <a:spLocks/>
          </p:cNvSpPr>
          <p:nvPr userDrawn="1"/>
        </p:nvSpPr>
        <p:spPr>
          <a:xfrm>
            <a:off x="6253389" y="5289357"/>
            <a:ext cx="4807929" cy="52476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 3" panose="05040102010807070707" pitchFamily="18" charset="2"/>
              <a:buNone/>
              <a:defRPr lang="en-US" sz="11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 3" panose="05040102010807070707" pitchFamily="18" charset="2"/>
              <a:buChar char=""/>
              <a:defRPr 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 3" panose="05040102010807070707" pitchFamily="18" charset="2"/>
              <a:buChar char="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 3" panose="05040102010807070707" pitchFamily="18" charset="2"/>
              <a:buChar char="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 3" panose="05040102010807070707" pitchFamily="18" charset="2"/>
              <a:buChar char="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BC2026"/>
              </a:buClr>
              <a:buSzTx/>
              <a:buFont typeface="Wingdings 3" panose="05040102010807070707" pitchFamily="18" charset="2"/>
              <a:buNone/>
              <a:tabLst/>
              <a:defRPr/>
            </a:pP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This project has received funding from the European Union's Horizon 2020 research and innovation </a:t>
            </a:r>
            <a:r>
              <a:rPr kumimoji="0" lang="en-US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programme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 under grant agreement No 830892</a:t>
            </a:r>
          </a:p>
        </p:txBody>
      </p:sp>
    </p:spTree>
    <p:extLst>
      <p:ext uri="{BB962C8B-B14F-4D97-AF65-F5344CB8AC3E}">
        <p14:creationId xmlns:p14="http://schemas.microsoft.com/office/powerpoint/2010/main" val="134005219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442912" y="1342800"/>
            <a:ext cx="10368000" cy="4968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48104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442912" y="1342800"/>
            <a:ext cx="5040000" cy="4968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4" hasCustomPrompt="1"/>
          </p:nvPr>
        </p:nvSpPr>
        <p:spPr>
          <a:xfrm>
            <a:off x="5770913" y="1342800"/>
            <a:ext cx="5040000" cy="4968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8169353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headers and 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8"/>
          <p:cNvSpPr>
            <a:spLocks noGrp="1"/>
          </p:cNvSpPr>
          <p:nvPr>
            <p:ph type="body" sz="quarter" idx="15"/>
          </p:nvPr>
        </p:nvSpPr>
        <p:spPr>
          <a:xfrm>
            <a:off x="431800" y="1342800"/>
            <a:ext cx="5040000" cy="432000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None/>
              <a:defRPr sz="20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16"/>
          </p:nvPr>
        </p:nvSpPr>
        <p:spPr>
          <a:xfrm>
            <a:off x="5770914" y="1342800"/>
            <a:ext cx="5040000" cy="432000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None/>
              <a:defRPr sz="2000" b="1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431799" y="1794142"/>
            <a:ext cx="5040000" cy="4527319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2" name="Inhaltsplatzhalter 8"/>
          <p:cNvSpPr>
            <a:spLocks noGrp="1"/>
          </p:cNvSpPr>
          <p:nvPr>
            <p:ph sz="quarter" idx="14" hasCustomPrompt="1"/>
          </p:nvPr>
        </p:nvSpPr>
        <p:spPr>
          <a:xfrm>
            <a:off x="5770913" y="1794142"/>
            <a:ext cx="5040000" cy="4514583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4912531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442913" y="1341436"/>
            <a:ext cx="3261600" cy="4968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4" hasCustomPrompt="1"/>
          </p:nvPr>
        </p:nvSpPr>
        <p:spPr>
          <a:xfrm>
            <a:off x="7549313" y="1341436"/>
            <a:ext cx="3261600" cy="4968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8" name="Inhaltsplatzhalter 6"/>
          <p:cNvSpPr>
            <a:spLocks noGrp="1"/>
          </p:cNvSpPr>
          <p:nvPr>
            <p:ph sz="quarter" idx="16" hasCustomPrompt="1"/>
          </p:nvPr>
        </p:nvSpPr>
        <p:spPr>
          <a:xfrm>
            <a:off x="3996113" y="1341436"/>
            <a:ext cx="3261600" cy="4968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0658330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headers and 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442913" y="1794141"/>
            <a:ext cx="3261600" cy="4514583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4" hasCustomPrompt="1"/>
          </p:nvPr>
        </p:nvSpPr>
        <p:spPr>
          <a:xfrm>
            <a:off x="7549313" y="1794141"/>
            <a:ext cx="3261600" cy="4514583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8" name="Inhaltsplatzhalter 6"/>
          <p:cNvSpPr>
            <a:spLocks noGrp="1"/>
          </p:cNvSpPr>
          <p:nvPr>
            <p:ph sz="quarter" idx="16" hasCustomPrompt="1"/>
          </p:nvPr>
        </p:nvSpPr>
        <p:spPr>
          <a:xfrm>
            <a:off x="3996113" y="1794141"/>
            <a:ext cx="3261600" cy="4514583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17"/>
          </p:nvPr>
        </p:nvSpPr>
        <p:spPr>
          <a:xfrm>
            <a:off x="442914" y="1342800"/>
            <a:ext cx="3261600" cy="432000"/>
          </a:xfrm>
        </p:spPr>
        <p:txBody>
          <a:bodyPr anchor="t">
            <a:normAutofit/>
          </a:bodyPr>
          <a:lstStyle>
            <a:lvl1pPr marL="0" indent="0">
              <a:buNone/>
              <a:defRPr sz="20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platzhalter 8"/>
          <p:cNvSpPr>
            <a:spLocks noGrp="1"/>
          </p:cNvSpPr>
          <p:nvPr>
            <p:ph type="body" sz="quarter" idx="20"/>
          </p:nvPr>
        </p:nvSpPr>
        <p:spPr>
          <a:xfrm>
            <a:off x="3996113" y="1342800"/>
            <a:ext cx="3261600" cy="432000"/>
          </a:xfrm>
        </p:spPr>
        <p:txBody>
          <a:bodyPr anchor="t">
            <a:normAutofit/>
          </a:bodyPr>
          <a:lstStyle>
            <a:lvl1pPr marL="0" indent="0">
              <a:buNone/>
              <a:defRPr sz="2000" b="1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21"/>
          </p:nvPr>
        </p:nvSpPr>
        <p:spPr>
          <a:xfrm>
            <a:off x="7549312" y="1342800"/>
            <a:ext cx="3261600" cy="432000"/>
          </a:xfrm>
        </p:spPr>
        <p:txBody>
          <a:bodyPr anchor="t">
            <a:normAutofit/>
          </a:bodyPr>
          <a:lstStyle>
            <a:lvl1pPr marL="0" indent="0">
              <a:buNone/>
              <a:defRPr sz="2000" b="1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0495532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3-2/3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442914" y="1342800"/>
            <a:ext cx="3261600" cy="4968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4" hasCustomPrompt="1"/>
          </p:nvPr>
        </p:nvSpPr>
        <p:spPr>
          <a:xfrm>
            <a:off x="3996113" y="1342800"/>
            <a:ext cx="6814800" cy="4968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7350112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/3-1/3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7549313" y="1342800"/>
            <a:ext cx="3261600" cy="4968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4" hasCustomPrompt="1"/>
          </p:nvPr>
        </p:nvSpPr>
        <p:spPr>
          <a:xfrm>
            <a:off x="442911" y="1342800"/>
            <a:ext cx="6814801" cy="4968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9568847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ags" Target="../tags/tag9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4.xml"/><Relationship Id="rId42" Type="http://schemas.openxmlformats.org/officeDocument/2006/relationships/oleObject" Target="../embeddings/oleObject1.bin"/><Relationship Id="rId47" Type="http://schemas.openxmlformats.org/officeDocument/2006/relationships/oleObject" Target="../embeddings/oleObject5.bin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2.xml"/><Relationship Id="rId37" Type="http://schemas.openxmlformats.org/officeDocument/2006/relationships/tags" Target="../tags/tag7.xml"/><Relationship Id="rId40" Type="http://schemas.openxmlformats.org/officeDocument/2006/relationships/tags" Target="../tags/tag10.xml"/><Relationship Id="rId45" Type="http://schemas.openxmlformats.org/officeDocument/2006/relationships/oleObject" Target="../embeddings/oleObject3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vmlDrawing" Target="../drawings/vmlDrawing1.vml"/><Relationship Id="rId44" Type="http://schemas.openxmlformats.org/officeDocument/2006/relationships/oleObject" Target="../embeddings/oleObject2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Relationship Id="rId35" Type="http://schemas.openxmlformats.org/officeDocument/2006/relationships/tags" Target="../tags/tag5.xml"/><Relationship Id="rId43" Type="http://schemas.openxmlformats.org/officeDocument/2006/relationships/image" Target="../media/image1.emf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3.xml"/><Relationship Id="rId38" Type="http://schemas.openxmlformats.org/officeDocument/2006/relationships/tags" Target="../tags/tag8.xml"/><Relationship Id="rId46" Type="http://schemas.openxmlformats.org/officeDocument/2006/relationships/oleObject" Target="../embeddings/oleObject4.bin"/><Relationship Id="rId20" Type="http://schemas.openxmlformats.org/officeDocument/2006/relationships/slideLayout" Target="../slideLayouts/slideLayout20.xml"/><Relationship Id="rId41" Type="http://schemas.openxmlformats.org/officeDocument/2006/relationships/tags" Target="../tags/tag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2913" y="1341438"/>
            <a:ext cx="10368000" cy="4968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4281073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901" name="think-cell Slide" r:id="rId42" imgW="270" imgH="270" progId="TCLayout.ActiveDocument.1">
                  <p:embed/>
                </p:oleObj>
              </mc:Choice>
              <mc:Fallback>
                <p:oleObj name="think-cell Slide" r:id="rId42" imgW="270" imgH="270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/>
          <p:cNvSpPr/>
          <p:nvPr>
            <p:custDataLst>
              <p:tags r:id="rId3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000" b="0" i="0" baseline="0" dirty="0">
              <a:latin typeface="Arial" panose="020B0604020202020204" pitchFamily="34" charset="0"/>
              <a:ea typeface="+mj-ea"/>
              <a:cs typeface="+mj-cs"/>
              <a:sym typeface="Lato Semibold" panose="020F0502020204030203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42914" y="317660"/>
            <a:ext cx="10367999" cy="79200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5759EC7-24B3-4C8A-BDAF-CA15F7A34D3E}"/>
              </a:ext>
            </a:extLst>
          </p:cNvPr>
          <p:cNvGraphicFramePr>
            <a:graphicFrameLocks noChangeAspect="1"/>
          </p:cNvGraphicFramePr>
          <p:nvPr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25469903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902" name="think-cell Slide" r:id="rId44" imgW="270" imgH="270" progId="TCLayout.ActiveDocument.1">
                  <p:embed/>
                </p:oleObj>
              </mc:Choice>
              <mc:Fallback>
                <p:oleObj name="think-cell Slide" r:id="rId44" imgW="270" imgH="27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5759EC7-24B3-4C8A-BDAF-CA15F7A34D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030AF223-A835-41C0-8FF1-67DF95B18047}"/>
              </a:ext>
            </a:extLst>
          </p:cNvPr>
          <p:cNvSpPr/>
          <p:nvPr>
            <p:custDataLst>
              <p:tags r:id="rId3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000" b="0" i="0" baseline="0" dirty="0">
              <a:latin typeface="Arial" panose="020B0604020202020204" pitchFamily="34" charset="0"/>
              <a:ea typeface="+mj-ea"/>
              <a:cs typeface="+mj-cs"/>
              <a:sym typeface="Lato Semibold" panose="020F0502020204030203" pitchFamily="34" charset="0"/>
            </a:endParaRP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81B75B4-AEA4-4FAB-B889-2CFCA25F6D7E}"/>
              </a:ext>
            </a:extLst>
          </p:cNvPr>
          <p:cNvGraphicFramePr>
            <a:graphicFrameLocks noChangeAspect="1"/>
          </p:cNvGraphicFramePr>
          <p:nvPr>
            <p:custDataLst>
              <p:tags r:id="rId36"/>
            </p:custDataLst>
            <p:extLst>
              <p:ext uri="{D42A27DB-BD31-4B8C-83A1-F6EECF244321}">
                <p14:modId xmlns:p14="http://schemas.microsoft.com/office/powerpoint/2010/main" val="15284271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903" name="think-cell Slide" r:id="rId45" imgW="270" imgH="270" progId="TCLayout.ActiveDocument.1">
                  <p:embed/>
                </p:oleObj>
              </mc:Choice>
              <mc:Fallback>
                <p:oleObj name="think-cell Slide" r:id="rId45" imgW="270" imgH="27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81B75B4-AEA4-4FAB-B889-2CFCA25F6D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9BCF3972-DE24-411F-B61E-BE6ABD1EF009}"/>
              </a:ext>
            </a:extLst>
          </p:cNvPr>
          <p:cNvSpPr/>
          <p:nvPr>
            <p:custDataLst>
              <p:tags r:id="rId3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000" b="0" i="0" baseline="0" dirty="0">
              <a:latin typeface="Arial" panose="020B0604020202020204" pitchFamily="34" charset="0"/>
              <a:ea typeface="+mj-ea"/>
              <a:cs typeface="+mj-cs"/>
              <a:sym typeface="Lato Semibold" panose="020F0502020204030203" pitchFamily="34" charset="0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2D24452-3069-43C9-BF60-6DC10CDA9482}"/>
              </a:ext>
            </a:extLst>
          </p:cNvPr>
          <p:cNvGrpSpPr/>
          <p:nvPr/>
        </p:nvGrpSpPr>
        <p:grpSpPr>
          <a:xfrm>
            <a:off x="167808" y="6353461"/>
            <a:ext cx="271462" cy="351028"/>
            <a:chOff x="4124325" y="4591050"/>
            <a:chExt cx="460375" cy="595313"/>
          </a:xfrm>
        </p:grpSpPr>
        <p:sp>
          <p:nvSpPr>
            <p:cNvPr id="12" name="Freeform 25">
              <a:extLst>
                <a:ext uri="{FF2B5EF4-FFF2-40B4-BE49-F238E27FC236}">
                  <a16:creationId xmlns:a16="http://schemas.microsoft.com/office/drawing/2014/main" id="{64F995BC-9AB3-4C1E-AF05-3AD41CE55BB3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4325" y="4983163"/>
              <a:ext cx="457200" cy="203200"/>
            </a:xfrm>
            <a:custGeom>
              <a:avLst/>
              <a:gdLst>
                <a:gd name="T0" fmla="*/ 143 w 288"/>
                <a:gd name="T1" fmla="*/ 66 h 128"/>
                <a:gd name="T2" fmla="*/ 228 w 288"/>
                <a:gd name="T3" fmla="*/ 23 h 128"/>
                <a:gd name="T4" fmla="*/ 283 w 288"/>
                <a:gd name="T5" fmla="*/ 0 h 128"/>
                <a:gd name="T6" fmla="*/ 288 w 288"/>
                <a:gd name="T7" fmla="*/ 3 h 128"/>
                <a:gd name="T8" fmla="*/ 283 w 288"/>
                <a:gd name="T9" fmla="*/ 62 h 128"/>
                <a:gd name="T10" fmla="*/ 156 w 288"/>
                <a:gd name="T11" fmla="*/ 128 h 128"/>
                <a:gd name="T12" fmla="*/ 131 w 288"/>
                <a:gd name="T13" fmla="*/ 128 h 128"/>
                <a:gd name="T14" fmla="*/ 4 w 288"/>
                <a:gd name="T15" fmla="*/ 62 h 128"/>
                <a:gd name="T16" fmla="*/ 0 w 288"/>
                <a:gd name="T17" fmla="*/ 3 h 128"/>
                <a:gd name="T18" fmla="*/ 4 w 288"/>
                <a:gd name="T19" fmla="*/ 0 h 128"/>
                <a:gd name="T20" fmla="*/ 59 w 288"/>
                <a:gd name="T21" fmla="*/ 23 h 128"/>
                <a:gd name="T22" fmla="*/ 143 w 288"/>
                <a:gd name="T23" fmla="*/ 66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88" h="128">
                  <a:moveTo>
                    <a:pt x="143" y="66"/>
                  </a:moveTo>
                  <a:lnTo>
                    <a:pt x="228" y="23"/>
                  </a:lnTo>
                  <a:lnTo>
                    <a:pt x="283" y="0"/>
                  </a:lnTo>
                  <a:lnTo>
                    <a:pt x="288" y="3"/>
                  </a:lnTo>
                  <a:lnTo>
                    <a:pt x="283" y="62"/>
                  </a:lnTo>
                  <a:lnTo>
                    <a:pt x="156" y="128"/>
                  </a:lnTo>
                  <a:lnTo>
                    <a:pt x="131" y="128"/>
                  </a:lnTo>
                  <a:lnTo>
                    <a:pt x="4" y="62"/>
                  </a:lnTo>
                  <a:lnTo>
                    <a:pt x="0" y="3"/>
                  </a:lnTo>
                  <a:lnTo>
                    <a:pt x="4" y="0"/>
                  </a:lnTo>
                  <a:lnTo>
                    <a:pt x="59" y="23"/>
                  </a:lnTo>
                  <a:lnTo>
                    <a:pt x="143" y="66"/>
                  </a:lnTo>
                  <a:close/>
                </a:path>
              </a:pathLst>
            </a:custGeom>
            <a:solidFill>
              <a:srgbClr val="F155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26">
              <a:extLst>
                <a:ext uri="{FF2B5EF4-FFF2-40B4-BE49-F238E27FC236}">
                  <a16:creationId xmlns:a16="http://schemas.microsoft.com/office/drawing/2014/main" id="{8767DCC5-D1F2-47B1-9605-499CF512DD65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4325" y="4689475"/>
              <a:ext cx="457200" cy="403225"/>
            </a:xfrm>
            <a:custGeom>
              <a:avLst/>
              <a:gdLst>
                <a:gd name="T0" fmla="*/ 288 w 288"/>
                <a:gd name="T1" fmla="*/ 188 h 254"/>
                <a:gd name="T2" fmla="*/ 283 w 288"/>
                <a:gd name="T3" fmla="*/ 247 h 254"/>
                <a:gd name="T4" fmla="*/ 270 w 288"/>
                <a:gd name="T5" fmla="*/ 254 h 254"/>
                <a:gd name="T6" fmla="*/ 0 w 288"/>
                <a:gd name="T7" fmla="*/ 17 h 254"/>
                <a:gd name="T8" fmla="*/ 0 w 288"/>
                <a:gd name="T9" fmla="*/ 11 h 254"/>
                <a:gd name="T10" fmla="*/ 72 w 288"/>
                <a:gd name="T11" fmla="*/ 0 h 254"/>
                <a:gd name="T12" fmla="*/ 288 w 288"/>
                <a:gd name="T13" fmla="*/ 188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8" h="254">
                  <a:moveTo>
                    <a:pt x="288" y="188"/>
                  </a:moveTo>
                  <a:lnTo>
                    <a:pt x="283" y="247"/>
                  </a:lnTo>
                  <a:lnTo>
                    <a:pt x="270" y="254"/>
                  </a:lnTo>
                  <a:lnTo>
                    <a:pt x="0" y="17"/>
                  </a:lnTo>
                  <a:lnTo>
                    <a:pt x="0" y="11"/>
                  </a:lnTo>
                  <a:lnTo>
                    <a:pt x="72" y="0"/>
                  </a:lnTo>
                  <a:lnTo>
                    <a:pt x="288" y="188"/>
                  </a:lnTo>
                  <a:close/>
                </a:path>
              </a:pathLst>
            </a:custGeom>
            <a:solidFill>
              <a:srgbClr val="BC20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27">
              <a:extLst>
                <a:ext uri="{FF2B5EF4-FFF2-40B4-BE49-F238E27FC236}">
                  <a16:creationId xmlns:a16="http://schemas.microsoft.com/office/drawing/2014/main" id="{33DD2B46-3580-4B04-AB64-5E1F2F1E29B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4325" y="4867275"/>
              <a:ext cx="209550" cy="225425"/>
            </a:xfrm>
            <a:custGeom>
              <a:avLst/>
              <a:gdLst>
                <a:gd name="T0" fmla="*/ 17 w 132"/>
                <a:gd name="T1" fmla="*/ 142 h 142"/>
                <a:gd name="T2" fmla="*/ 4 w 132"/>
                <a:gd name="T3" fmla="*/ 135 h 142"/>
                <a:gd name="T4" fmla="*/ 0 w 132"/>
                <a:gd name="T5" fmla="*/ 76 h 142"/>
                <a:gd name="T6" fmla="*/ 86 w 132"/>
                <a:gd name="T7" fmla="*/ 0 h 142"/>
                <a:gd name="T8" fmla="*/ 132 w 132"/>
                <a:gd name="T9" fmla="*/ 41 h 142"/>
                <a:gd name="T10" fmla="*/ 17 w 132"/>
                <a:gd name="T11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2" h="142">
                  <a:moveTo>
                    <a:pt x="17" y="142"/>
                  </a:moveTo>
                  <a:lnTo>
                    <a:pt x="4" y="135"/>
                  </a:lnTo>
                  <a:lnTo>
                    <a:pt x="0" y="76"/>
                  </a:lnTo>
                  <a:lnTo>
                    <a:pt x="86" y="0"/>
                  </a:lnTo>
                  <a:lnTo>
                    <a:pt x="132" y="41"/>
                  </a:lnTo>
                  <a:lnTo>
                    <a:pt x="17" y="142"/>
                  </a:lnTo>
                  <a:close/>
                </a:path>
              </a:pathLst>
            </a:custGeom>
            <a:solidFill>
              <a:srgbClr val="931A1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28">
              <a:extLst>
                <a:ext uri="{FF2B5EF4-FFF2-40B4-BE49-F238E27FC236}">
                  <a16:creationId xmlns:a16="http://schemas.microsoft.com/office/drawing/2014/main" id="{E648602D-8786-4652-8ED5-0040091491F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4325" y="4591050"/>
              <a:ext cx="381000" cy="130175"/>
            </a:xfrm>
            <a:custGeom>
              <a:avLst/>
              <a:gdLst>
                <a:gd name="T0" fmla="*/ 143 w 240"/>
                <a:gd name="T1" fmla="*/ 60 h 82"/>
                <a:gd name="T2" fmla="*/ 3 w 240"/>
                <a:gd name="T3" fmla="*/ 82 h 82"/>
                <a:gd name="T4" fmla="*/ 0 w 240"/>
                <a:gd name="T5" fmla="*/ 79 h 82"/>
                <a:gd name="T6" fmla="*/ 4 w 240"/>
                <a:gd name="T7" fmla="*/ 21 h 82"/>
                <a:gd name="T8" fmla="*/ 139 w 240"/>
                <a:gd name="T9" fmla="*/ 0 h 82"/>
                <a:gd name="T10" fmla="*/ 147 w 240"/>
                <a:gd name="T11" fmla="*/ 0 h 82"/>
                <a:gd name="T12" fmla="*/ 240 w 240"/>
                <a:gd name="T13" fmla="*/ 14 h 82"/>
                <a:gd name="T14" fmla="*/ 240 w 240"/>
                <a:gd name="T15" fmla="*/ 76 h 82"/>
                <a:gd name="T16" fmla="*/ 143 w 240"/>
                <a:gd name="T17" fmla="*/ 60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0" h="82">
                  <a:moveTo>
                    <a:pt x="143" y="60"/>
                  </a:moveTo>
                  <a:lnTo>
                    <a:pt x="3" y="82"/>
                  </a:lnTo>
                  <a:lnTo>
                    <a:pt x="0" y="79"/>
                  </a:lnTo>
                  <a:lnTo>
                    <a:pt x="4" y="21"/>
                  </a:lnTo>
                  <a:lnTo>
                    <a:pt x="139" y="0"/>
                  </a:lnTo>
                  <a:lnTo>
                    <a:pt x="147" y="0"/>
                  </a:lnTo>
                  <a:lnTo>
                    <a:pt x="240" y="14"/>
                  </a:lnTo>
                  <a:lnTo>
                    <a:pt x="240" y="76"/>
                  </a:lnTo>
                  <a:lnTo>
                    <a:pt x="143" y="60"/>
                  </a:lnTo>
                  <a:close/>
                </a:path>
              </a:pathLst>
            </a:custGeom>
            <a:solidFill>
              <a:srgbClr val="F47D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29">
              <a:extLst>
                <a:ext uri="{FF2B5EF4-FFF2-40B4-BE49-F238E27FC236}">
                  <a16:creationId xmlns:a16="http://schemas.microsoft.com/office/drawing/2014/main" id="{1CD75245-BED5-46A8-92BC-48BFACCBF66D}"/>
                </a:ext>
              </a:extLst>
            </p:cNvPr>
            <p:cNvSpPr>
              <a:spLocks/>
            </p:cNvSpPr>
            <p:nvPr/>
          </p:nvSpPr>
          <p:spPr bwMode="auto">
            <a:xfrm>
              <a:off x="4489450" y="4610100"/>
              <a:ext cx="95250" cy="207962"/>
            </a:xfrm>
            <a:custGeom>
              <a:avLst/>
              <a:gdLst>
                <a:gd name="T0" fmla="*/ 0 w 60"/>
                <a:gd name="T1" fmla="*/ 131 h 131"/>
                <a:gd name="T2" fmla="*/ 0 w 60"/>
                <a:gd name="T3" fmla="*/ 0 h 131"/>
                <a:gd name="T4" fmla="*/ 37 w 60"/>
                <a:gd name="T5" fmla="*/ 6 h 131"/>
                <a:gd name="T6" fmla="*/ 60 w 60"/>
                <a:gd name="T7" fmla="*/ 34 h 131"/>
                <a:gd name="T8" fmla="*/ 60 w 60"/>
                <a:gd name="T9" fmla="*/ 106 h 131"/>
                <a:gd name="T10" fmla="*/ 0 w 60"/>
                <a:gd name="T11" fmla="*/ 131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0" h="131">
                  <a:moveTo>
                    <a:pt x="0" y="131"/>
                  </a:moveTo>
                  <a:lnTo>
                    <a:pt x="0" y="0"/>
                  </a:lnTo>
                  <a:lnTo>
                    <a:pt x="37" y="6"/>
                  </a:lnTo>
                  <a:lnTo>
                    <a:pt x="60" y="34"/>
                  </a:lnTo>
                  <a:lnTo>
                    <a:pt x="60" y="106"/>
                  </a:lnTo>
                  <a:lnTo>
                    <a:pt x="0" y="131"/>
                  </a:lnTo>
                  <a:close/>
                </a:path>
              </a:pathLst>
            </a:custGeom>
            <a:solidFill>
              <a:srgbClr val="F9AC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30">
              <a:extLst>
                <a:ext uri="{FF2B5EF4-FFF2-40B4-BE49-F238E27FC236}">
                  <a16:creationId xmlns:a16="http://schemas.microsoft.com/office/drawing/2014/main" id="{F7C475DD-8590-4884-AB99-5513A1533B99}"/>
                </a:ext>
              </a:extLst>
            </p:cNvPr>
            <p:cNvSpPr>
              <a:spLocks/>
            </p:cNvSpPr>
            <p:nvPr/>
          </p:nvSpPr>
          <p:spPr bwMode="auto">
            <a:xfrm>
              <a:off x="4465638" y="4606925"/>
              <a:ext cx="23812" cy="100012"/>
            </a:xfrm>
            <a:custGeom>
              <a:avLst/>
              <a:gdLst>
                <a:gd name="T0" fmla="*/ 0 w 15"/>
                <a:gd name="T1" fmla="*/ 61 h 63"/>
                <a:gd name="T2" fmla="*/ 15 w 15"/>
                <a:gd name="T3" fmla="*/ 63 h 63"/>
                <a:gd name="T4" fmla="*/ 15 w 15"/>
                <a:gd name="T5" fmla="*/ 2 h 63"/>
                <a:gd name="T6" fmla="*/ 0 w 15"/>
                <a:gd name="T7" fmla="*/ 0 h 63"/>
                <a:gd name="T8" fmla="*/ 0 w 15"/>
                <a:gd name="T9" fmla="*/ 6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63">
                  <a:moveTo>
                    <a:pt x="0" y="61"/>
                  </a:moveTo>
                  <a:lnTo>
                    <a:pt x="15" y="63"/>
                  </a:lnTo>
                  <a:lnTo>
                    <a:pt x="15" y="2"/>
                  </a:lnTo>
                  <a:lnTo>
                    <a:pt x="0" y="0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F155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31">
              <a:extLst>
                <a:ext uri="{FF2B5EF4-FFF2-40B4-BE49-F238E27FC236}">
                  <a16:creationId xmlns:a16="http://schemas.microsoft.com/office/drawing/2014/main" id="{989CA8EA-B116-4BD1-9AD2-7243B32C27CF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9088" y="4702175"/>
              <a:ext cx="147637" cy="39687"/>
            </a:xfrm>
            <a:custGeom>
              <a:avLst/>
              <a:gdLst>
                <a:gd name="T0" fmla="*/ 15 w 93"/>
                <a:gd name="T1" fmla="*/ 25 h 25"/>
                <a:gd name="T2" fmla="*/ 93 w 93"/>
                <a:gd name="T3" fmla="*/ 13 h 25"/>
                <a:gd name="T4" fmla="*/ 78 w 93"/>
                <a:gd name="T5" fmla="*/ 0 h 25"/>
                <a:gd name="T6" fmla="*/ 0 w 93"/>
                <a:gd name="T7" fmla="*/ 12 h 25"/>
                <a:gd name="T8" fmla="*/ 15 w 93"/>
                <a:gd name="T9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" h="25">
                  <a:moveTo>
                    <a:pt x="15" y="25"/>
                  </a:moveTo>
                  <a:lnTo>
                    <a:pt x="93" y="13"/>
                  </a:lnTo>
                  <a:lnTo>
                    <a:pt x="78" y="0"/>
                  </a:lnTo>
                  <a:lnTo>
                    <a:pt x="0" y="12"/>
                  </a:lnTo>
                  <a:lnTo>
                    <a:pt x="15" y="25"/>
                  </a:lnTo>
                  <a:close/>
                </a:path>
              </a:pathLst>
            </a:custGeom>
            <a:solidFill>
              <a:srgbClr val="931A1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32">
              <a:extLst>
                <a:ext uri="{FF2B5EF4-FFF2-40B4-BE49-F238E27FC236}">
                  <a16:creationId xmlns:a16="http://schemas.microsoft.com/office/drawing/2014/main" id="{24FC1C6E-C553-417C-A6FB-1ABC72F434E7}"/>
                </a:ext>
              </a:extLst>
            </p:cNvPr>
            <p:cNvSpPr>
              <a:spLocks/>
            </p:cNvSpPr>
            <p:nvPr/>
          </p:nvSpPr>
          <p:spPr bwMode="auto">
            <a:xfrm>
              <a:off x="4452938" y="5022850"/>
              <a:ext cx="100012" cy="79375"/>
            </a:xfrm>
            <a:custGeom>
              <a:avLst/>
              <a:gdLst>
                <a:gd name="T0" fmla="*/ 63 w 63"/>
                <a:gd name="T1" fmla="*/ 44 h 50"/>
                <a:gd name="T2" fmla="*/ 15 w 63"/>
                <a:gd name="T3" fmla="*/ 0 h 50"/>
                <a:gd name="T4" fmla="*/ 0 w 63"/>
                <a:gd name="T5" fmla="*/ 8 h 50"/>
                <a:gd name="T6" fmla="*/ 49 w 63"/>
                <a:gd name="T7" fmla="*/ 50 h 50"/>
                <a:gd name="T8" fmla="*/ 63 w 63"/>
                <a:gd name="T9" fmla="*/ 44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50">
                  <a:moveTo>
                    <a:pt x="63" y="44"/>
                  </a:moveTo>
                  <a:lnTo>
                    <a:pt x="15" y="0"/>
                  </a:lnTo>
                  <a:lnTo>
                    <a:pt x="0" y="8"/>
                  </a:lnTo>
                  <a:lnTo>
                    <a:pt x="49" y="50"/>
                  </a:lnTo>
                  <a:lnTo>
                    <a:pt x="63" y="44"/>
                  </a:lnTo>
                  <a:close/>
                </a:path>
              </a:pathLst>
            </a:custGeom>
            <a:solidFill>
              <a:srgbClr val="D025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33">
              <a:extLst>
                <a:ext uri="{FF2B5EF4-FFF2-40B4-BE49-F238E27FC236}">
                  <a16:creationId xmlns:a16="http://schemas.microsoft.com/office/drawing/2014/main" id="{9D2C29AD-E20F-4684-92B2-2960823676DE}"/>
                </a:ext>
              </a:extLst>
            </p:cNvPr>
            <p:cNvSpPr>
              <a:spLocks/>
            </p:cNvSpPr>
            <p:nvPr/>
          </p:nvSpPr>
          <p:spPr bwMode="auto">
            <a:xfrm>
              <a:off x="4151313" y="5022850"/>
              <a:ext cx="100012" cy="79375"/>
            </a:xfrm>
            <a:custGeom>
              <a:avLst/>
              <a:gdLst>
                <a:gd name="T0" fmla="*/ 0 w 63"/>
                <a:gd name="T1" fmla="*/ 44 h 50"/>
                <a:gd name="T2" fmla="*/ 14 w 63"/>
                <a:gd name="T3" fmla="*/ 50 h 50"/>
                <a:gd name="T4" fmla="*/ 63 w 63"/>
                <a:gd name="T5" fmla="*/ 8 h 50"/>
                <a:gd name="T6" fmla="*/ 48 w 63"/>
                <a:gd name="T7" fmla="*/ 0 h 50"/>
                <a:gd name="T8" fmla="*/ 0 w 63"/>
                <a:gd name="T9" fmla="*/ 44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50">
                  <a:moveTo>
                    <a:pt x="0" y="44"/>
                  </a:moveTo>
                  <a:lnTo>
                    <a:pt x="14" y="50"/>
                  </a:lnTo>
                  <a:lnTo>
                    <a:pt x="63" y="8"/>
                  </a:lnTo>
                  <a:lnTo>
                    <a:pt x="48" y="0"/>
                  </a:lnTo>
                  <a:lnTo>
                    <a:pt x="0" y="44"/>
                  </a:lnTo>
                  <a:close/>
                </a:path>
              </a:pathLst>
            </a:custGeom>
            <a:solidFill>
              <a:srgbClr val="D025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6855279C-539B-4A2A-98D2-4E247335F015}"/>
              </a:ext>
            </a:extLst>
          </p:cNvPr>
          <p:cNvGrpSpPr/>
          <p:nvPr userDrawn="1"/>
        </p:nvGrpSpPr>
        <p:grpSpPr>
          <a:xfrm>
            <a:off x="11010900" y="0"/>
            <a:ext cx="1181100" cy="6858000"/>
            <a:chOff x="10896600" y="0"/>
            <a:chExt cx="1295400" cy="6834188"/>
          </a:xfrm>
        </p:grpSpPr>
        <p:sp>
          <p:nvSpPr>
            <p:cNvPr id="28" name="Freeform 5">
              <a:extLst>
                <a:ext uri="{FF2B5EF4-FFF2-40B4-BE49-F238E27FC236}">
                  <a16:creationId xmlns:a16="http://schemas.microsoft.com/office/drawing/2014/main" id="{760BE8FF-B35D-4540-A523-46710661A4D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83925" y="0"/>
              <a:ext cx="1108075" cy="6834188"/>
            </a:xfrm>
            <a:custGeom>
              <a:avLst/>
              <a:gdLst>
                <a:gd name="T0" fmla="*/ 698 w 698"/>
                <a:gd name="T1" fmla="*/ 0 h 4305"/>
                <a:gd name="T2" fmla="*/ 698 w 698"/>
                <a:gd name="T3" fmla="*/ 4305 h 4305"/>
                <a:gd name="T4" fmla="*/ 420 w 698"/>
                <a:gd name="T5" fmla="*/ 4305 h 4305"/>
                <a:gd name="T6" fmla="*/ 0 w 698"/>
                <a:gd name="T7" fmla="*/ 2264 h 4305"/>
                <a:gd name="T8" fmla="*/ 258 w 698"/>
                <a:gd name="T9" fmla="*/ 311 h 4305"/>
                <a:gd name="T10" fmla="*/ 334 w 698"/>
                <a:gd name="T11" fmla="*/ 0 h 4305"/>
                <a:gd name="T12" fmla="*/ 698 w 698"/>
                <a:gd name="T13" fmla="*/ 0 h 4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98" h="4305">
                  <a:moveTo>
                    <a:pt x="698" y="0"/>
                  </a:moveTo>
                  <a:lnTo>
                    <a:pt x="698" y="4305"/>
                  </a:lnTo>
                  <a:lnTo>
                    <a:pt x="420" y="4305"/>
                  </a:lnTo>
                  <a:lnTo>
                    <a:pt x="0" y="2264"/>
                  </a:lnTo>
                  <a:lnTo>
                    <a:pt x="258" y="311"/>
                  </a:lnTo>
                  <a:lnTo>
                    <a:pt x="334" y="0"/>
                  </a:lnTo>
                  <a:lnTo>
                    <a:pt x="698" y="0"/>
                  </a:lnTo>
                  <a:close/>
                </a:path>
              </a:pathLst>
            </a:custGeom>
            <a:solidFill>
              <a:srgbClr val="BC20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" name="Freeform 6">
              <a:extLst>
                <a:ext uri="{FF2B5EF4-FFF2-40B4-BE49-F238E27FC236}">
                  <a16:creationId xmlns:a16="http://schemas.microsoft.com/office/drawing/2014/main" id="{A0A4ABDD-EDE4-4314-8BAA-8D712E550B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28400" y="0"/>
              <a:ext cx="863600" cy="608013"/>
            </a:xfrm>
            <a:custGeom>
              <a:avLst/>
              <a:gdLst>
                <a:gd name="T0" fmla="*/ 544 w 544"/>
                <a:gd name="T1" fmla="*/ 0 h 383"/>
                <a:gd name="T2" fmla="*/ 0 w 544"/>
                <a:gd name="T3" fmla="*/ 383 h 383"/>
                <a:gd name="T4" fmla="*/ 94 w 544"/>
                <a:gd name="T5" fmla="*/ 0 h 383"/>
                <a:gd name="T6" fmla="*/ 544 w 544"/>
                <a:gd name="T7" fmla="*/ 0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4" h="383">
                  <a:moveTo>
                    <a:pt x="544" y="0"/>
                  </a:moveTo>
                  <a:lnTo>
                    <a:pt x="0" y="383"/>
                  </a:lnTo>
                  <a:lnTo>
                    <a:pt x="94" y="0"/>
                  </a:lnTo>
                  <a:lnTo>
                    <a:pt x="544" y="0"/>
                  </a:lnTo>
                  <a:close/>
                </a:path>
              </a:pathLst>
            </a:custGeom>
            <a:solidFill>
              <a:srgbClr val="F9AC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" name="Freeform 7">
              <a:extLst>
                <a:ext uri="{FF2B5EF4-FFF2-40B4-BE49-F238E27FC236}">
                  <a16:creationId xmlns:a16="http://schemas.microsoft.com/office/drawing/2014/main" id="{96ED428E-EB55-4E0B-A7D8-0D282C703A9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66476" y="180975"/>
              <a:ext cx="768350" cy="2798763"/>
            </a:xfrm>
            <a:custGeom>
              <a:avLst/>
              <a:gdLst>
                <a:gd name="T0" fmla="*/ 484 w 484"/>
                <a:gd name="T1" fmla="*/ 0 h 1763"/>
                <a:gd name="T2" fmla="*/ 0 w 484"/>
                <a:gd name="T3" fmla="*/ 1763 h 1763"/>
                <a:gd name="T4" fmla="*/ 206 w 484"/>
                <a:gd name="T5" fmla="*/ 197 h 1763"/>
                <a:gd name="T6" fmla="*/ 484 w 484"/>
                <a:gd name="T7" fmla="*/ 0 h 17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84" h="1763">
                  <a:moveTo>
                    <a:pt x="484" y="0"/>
                  </a:moveTo>
                  <a:lnTo>
                    <a:pt x="0" y="1763"/>
                  </a:lnTo>
                  <a:lnTo>
                    <a:pt x="206" y="197"/>
                  </a:lnTo>
                  <a:lnTo>
                    <a:pt x="484" y="0"/>
                  </a:lnTo>
                  <a:close/>
                </a:path>
              </a:pathLst>
            </a:custGeom>
            <a:solidFill>
              <a:srgbClr val="F155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8">
              <a:extLst>
                <a:ext uri="{FF2B5EF4-FFF2-40B4-BE49-F238E27FC236}">
                  <a16:creationId xmlns:a16="http://schemas.microsoft.com/office/drawing/2014/main" id="{B68AB937-9D5A-4FDC-AD0B-F48A8421D4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6600" y="2863850"/>
              <a:ext cx="854075" cy="3970338"/>
            </a:xfrm>
            <a:custGeom>
              <a:avLst/>
              <a:gdLst>
                <a:gd name="T0" fmla="*/ 190 w 538"/>
                <a:gd name="T1" fmla="*/ 0 h 2501"/>
                <a:gd name="T2" fmla="*/ 538 w 538"/>
                <a:gd name="T3" fmla="*/ 2501 h 2501"/>
                <a:gd name="T4" fmla="*/ 0 w 538"/>
                <a:gd name="T5" fmla="*/ 293 h 2501"/>
                <a:gd name="T6" fmla="*/ 190 w 538"/>
                <a:gd name="T7" fmla="*/ 0 h 25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38" h="2501">
                  <a:moveTo>
                    <a:pt x="190" y="0"/>
                  </a:moveTo>
                  <a:lnTo>
                    <a:pt x="538" y="2501"/>
                  </a:lnTo>
                  <a:lnTo>
                    <a:pt x="0" y="293"/>
                  </a:lnTo>
                  <a:lnTo>
                    <a:pt x="190" y="0"/>
                  </a:lnTo>
                  <a:close/>
                </a:path>
              </a:pathLst>
            </a:custGeom>
            <a:solidFill>
              <a:srgbClr val="D025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6" name="Rectangle 25">
            <a:extLst>
              <a:ext uri="{FF2B5EF4-FFF2-40B4-BE49-F238E27FC236}">
                <a16:creationId xmlns:a16="http://schemas.microsoft.com/office/drawing/2014/main" id="{5A346065-8680-443A-A45F-6C62317DD2A0}"/>
              </a:ext>
            </a:extLst>
          </p:cNvPr>
          <p:cNvSpPr/>
          <p:nvPr/>
        </p:nvSpPr>
        <p:spPr>
          <a:xfrm rot="16200000">
            <a:off x="11016961" y="3336668"/>
            <a:ext cx="1886735" cy="184666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pPr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</a:pPr>
            <a:r>
              <a:rPr lang="en-US" sz="1200" spc="100" baseline="0" dirty="0">
                <a:solidFill>
                  <a:schemeClr val="bg1"/>
                </a:solidFill>
                <a:effectLst/>
                <a:latin typeface="+mn-lt"/>
                <a:ea typeface="BatangChe" panose="02030609000101010101" pitchFamily="49" charset="-127"/>
                <a:cs typeface="Arial" panose="020B0604020202020204" pitchFamily="34" charset="0"/>
              </a:rPr>
              <a:t>@</a:t>
            </a:r>
            <a:r>
              <a:rPr lang="en-US" sz="1200" spc="100" baseline="0" dirty="0" err="1">
                <a:solidFill>
                  <a:schemeClr val="bg1"/>
                </a:solidFill>
                <a:effectLst/>
                <a:latin typeface="+mn-lt"/>
                <a:ea typeface="BatangChe" panose="02030609000101010101" pitchFamily="49" charset="-127"/>
                <a:cs typeface="Arial" panose="020B0604020202020204" pitchFamily="34" charset="0"/>
              </a:rPr>
              <a:t>sparta_eu</a:t>
            </a:r>
            <a:r>
              <a:rPr lang="en-US" sz="1200" spc="100" baseline="0" dirty="0">
                <a:solidFill>
                  <a:schemeClr val="bg1"/>
                </a:solidFill>
                <a:effectLst/>
                <a:latin typeface="+mn-lt"/>
                <a:ea typeface="BatangChe" panose="02030609000101010101" pitchFamily="49" charset="-127"/>
                <a:cs typeface="Arial" panose="020B0604020202020204" pitchFamily="34" charset="0"/>
              </a:rPr>
              <a:t> | sparta.eu</a:t>
            </a:r>
            <a:endParaRPr lang="fr-FR" sz="2000" spc="100" baseline="0" dirty="0">
              <a:solidFill>
                <a:schemeClr val="bg1"/>
              </a:solidFill>
              <a:effectLst/>
              <a:latin typeface="+mn-lt"/>
              <a:ea typeface="BatangChe" panose="02030609000101010101" pitchFamily="49" charset="-127"/>
              <a:cs typeface="Arial" panose="020B0604020202020204" pitchFamily="34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F6E1DEFD-C5E6-4EC2-AB69-7A0ECE8E0A2A}"/>
              </a:ext>
            </a:extLst>
          </p:cNvPr>
          <p:cNvSpPr/>
          <p:nvPr/>
        </p:nvSpPr>
        <p:spPr>
          <a:xfrm>
            <a:off x="11851325" y="6411498"/>
            <a:ext cx="218009" cy="215444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pPr algn="ctr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</a:pPr>
            <a:fld id="{0328457F-132B-4300-A6DA-AA6E301E4F7F}" type="slidenum">
              <a:rPr lang="en-US" sz="1400" smtClean="0">
                <a:solidFill>
                  <a:schemeClr val="bg1"/>
                </a:solidFill>
                <a:effectLst/>
                <a:latin typeface="+mn-lt"/>
                <a:ea typeface="BatangChe" panose="02030609000101010101" pitchFamily="49" charset="-127"/>
                <a:cs typeface="Arial" panose="020B0604020202020204" pitchFamily="34" charset="0"/>
              </a:rPr>
              <a:t>‹#›</a:t>
            </a:fld>
            <a:endParaRPr lang="fr-FR" sz="2400" dirty="0">
              <a:solidFill>
                <a:schemeClr val="bg1"/>
              </a:solidFill>
              <a:effectLst/>
              <a:latin typeface="+mn-lt"/>
              <a:ea typeface="BatangChe" panose="02030609000101010101" pitchFamily="49" charset="-127"/>
              <a:cs typeface="Arial" panose="020B0604020202020204" pitchFamily="34" charset="0"/>
            </a:endParaRPr>
          </a:p>
        </p:txBody>
      </p:sp>
      <p:graphicFrame>
        <p:nvGraphicFramePr>
          <p:cNvPr id="32" name="Object 31" hidden="1">
            <a:extLst>
              <a:ext uri="{FF2B5EF4-FFF2-40B4-BE49-F238E27FC236}">
                <a16:creationId xmlns:a16="http://schemas.microsoft.com/office/drawing/2014/main" id="{C3F33D86-0E0A-4F5E-BE04-18C2F0FD8F14}"/>
              </a:ext>
            </a:extLst>
          </p:cNvPr>
          <p:cNvGraphicFramePr>
            <a:graphicFrameLocks noChangeAspect="1"/>
          </p:cNvGraphicFramePr>
          <p:nvPr>
            <p:custDataLst>
              <p:tags r:id="rId38"/>
            </p:custDataLst>
            <p:extLst>
              <p:ext uri="{D42A27DB-BD31-4B8C-83A1-F6EECF244321}">
                <p14:modId xmlns:p14="http://schemas.microsoft.com/office/powerpoint/2010/main" val="34044921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904" name="think-cell Slide" r:id="rId46" imgW="270" imgH="270" progId="TCLayout.ActiveDocument.1">
                  <p:embed/>
                </p:oleObj>
              </mc:Choice>
              <mc:Fallback>
                <p:oleObj name="think-cell Slide" r:id="rId46" imgW="270" imgH="270" progId="TCLayout.ActiveDocument.1">
                  <p:embed/>
                  <p:pic>
                    <p:nvPicPr>
                      <p:cNvPr id="32" name="Object 31" hidden="1">
                        <a:extLst>
                          <a:ext uri="{FF2B5EF4-FFF2-40B4-BE49-F238E27FC236}">
                            <a16:creationId xmlns:a16="http://schemas.microsoft.com/office/drawing/2014/main" id="{C3F33D86-0E0A-4F5E-BE04-18C2F0FD8F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Rectangle 32" hidden="1">
            <a:extLst>
              <a:ext uri="{FF2B5EF4-FFF2-40B4-BE49-F238E27FC236}">
                <a16:creationId xmlns:a16="http://schemas.microsoft.com/office/drawing/2014/main" id="{001CF49D-6018-43E2-AA50-A37C37DD3866}"/>
              </a:ext>
            </a:extLst>
          </p:cNvPr>
          <p:cNvSpPr/>
          <p:nvPr>
            <p:custDataLst>
              <p:tags r:id="rId3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000" b="0" i="0" baseline="0" dirty="0">
              <a:latin typeface="Arial" panose="020B0604020202020204" pitchFamily="34" charset="0"/>
              <a:ea typeface="+mj-ea"/>
              <a:cs typeface="+mj-cs"/>
              <a:sym typeface="Lato Semibold" panose="020F0502020204030203" pitchFamily="34" charset="0"/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8CA5D29D-C11E-4B14-BC9E-4134FC19EBFB}"/>
              </a:ext>
            </a:extLst>
          </p:cNvPr>
          <p:cNvGrpSpPr/>
          <p:nvPr/>
        </p:nvGrpSpPr>
        <p:grpSpPr>
          <a:xfrm>
            <a:off x="167808" y="6353461"/>
            <a:ext cx="271462" cy="351028"/>
            <a:chOff x="4124325" y="4591050"/>
            <a:chExt cx="460375" cy="595313"/>
          </a:xfrm>
        </p:grpSpPr>
        <p:sp>
          <p:nvSpPr>
            <p:cNvPr id="36" name="Freeform 25">
              <a:extLst>
                <a:ext uri="{FF2B5EF4-FFF2-40B4-BE49-F238E27FC236}">
                  <a16:creationId xmlns:a16="http://schemas.microsoft.com/office/drawing/2014/main" id="{8273E85B-6C25-46B4-B890-3BD6B1733CD0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4325" y="4983163"/>
              <a:ext cx="457200" cy="203200"/>
            </a:xfrm>
            <a:custGeom>
              <a:avLst/>
              <a:gdLst>
                <a:gd name="T0" fmla="*/ 143 w 288"/>
                <a:gd name="T1" fmla="*/ 66 h 128"/>
                <a:gd name="T2" fmla="*/ 228 w 288"/>
                <a:gd name="T3" fmla="*/ 23 h 128"/>
                <a:gd name="T4" fmla="*/ 283 w 288"/>
                <a:gd name="T5" fmla="*/ 0 h 128"/>
                <a:gd name="T6" fmla="*/ 288 w 288"/>
                <a:gd name="T7" fmla="*/ 3 h 128"/>
                <a:gd name="T8" fmla="*/ 283 w 288"/>
                <a:gd name="T9" fmla="*/ 62 h 128"/>
                <a:gd name="T10" fmla="*/ 156 w 288"/>
                <a:gd name="T11" fmla="*/ 128 h 128"/>
                <a:gd name="T12" fmla="*/ 131 w 288"/>
                <a:gd name="T13" fmla="*/ 128 h 128"/>
                <a:gd name="T14" fmla="*/ 4 w 288"/>
                <a:gd name="T15" fmla="*/ 62 h 128"/>
                <a:gd name="T16" fmla="*/ 0 w 288"/>
                <a:gd name="T17" fmla="*/ 3 h 128"/>
                <a:gd name="T18" fmla="*/ 4 w 288"/>
                <a:gd name="T19" fmla="*/ 0 h 128"/>
                <a:gd name="T20" fmla="*/ 59 w 288"/>
                <a:gd name="T21" fmla="*/ 23 h 128"/>
                <a:gd name="T22" fmla="*/ 143 w 288"/>
                <a:gd name="T23" fmla="*/ 66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88" h="128">
                  <a:moveTo>
                    <a:pt x="143" y="66"/>
                  </a:moveTo>
                  <a:lnTo>
                    <a:pt x="228" y="23"/>
                  </a:lnTo>
                  <a:lnTo>
                    <a:pt x="283" y="0"/>
                  </a:lnTo>
                  <a:lnTo>
                    <a:pt x="288" y="3"/>
                  </a:lnTo>
                  <a:lnTo>
                    <a:pt x="283" y="62"/>
                  </a:lnTo>
                  <a:lnTo>
                    <a:pt x="156" y="128"/>
                  </a:lnTo>
                  <a:lnTo>
                    <a:pt x="131" y="128"/>
                  </a:lnTo>
                  <a:lnTo>
                    <a:pt x="4" y="62"/>
                  </a:lnTo>
                  <a:lnTo>
                    <a:pt x="0" y="3"/>
                  </a:lnTo>
                  <a:lnTo>
                    <a:pt x="4" y="0"/>
                  </a:lnTo>
                  <a:lnTo>
                    <a:pt x="59" y="23"/>
                  </a:lnTo>
                  <a:lnTo>
                    <a:pt x="143" y="66"/>
                  </a:lnTo>
                  <a:close/>
                </a:path>
              </a:pathLst>
            </a:custGeom>
            <a:solidFill>
              <a:srgbClr val="F155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26">
              <a:extLst>
                <a:ext uri="{FF2B5EF4-FFF2-40B4-BE49-F238E27FC236}">
                  <a16:creationId xmlns:a16="http://schemas.microsoft.com/office/drawing/2014/main" id="{8B1FC910-036C-4CA2-B9E4-082CC830AF24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4325" y="4689475"/>
              <a:ext cx="457200" cy="403225"/>
            </a:xfrm>
            <a:custGeom>
              <a:avLst/>
              <a:gdLst>
                <a:gd name="T0" fmla="*/ 288 w 288"/>
                <a:gd name="T1" fmla="*/ 188 h 254"/>
                <a:gd name="T2" fmla="*/ 283 w 288"/>
                <a:gd name="T3" fmla="*/ 247 h 254"/>
                <a:gd name="T4" fmla="*/ 270 w 288"/>
                <a:gd name="T5" fmla="*/ 254 h 254"/>
                <a:gd name="T6" fmla="*/ 0 w 288"/>
                <a:gd name="T7" fmla="*/ 17 h 254"/>
                <a:gd name="T8" fmla="*/ 0 w 288"/>
                <a:gd name="T9" fmla="*/ 11 h 254"/>
                <a:gd name="T10" fmla="*/ 72 w 288"/>
                <a:gd name="T11" fmla="*/ 0 h 254"/>
                <a:gd name="T12" fmla="*/ 288 w 288"/>
                <a:gd name="T13" fmla="*/ 188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8" h="254">
                  <a:moveTo>
                    <a:pt x="288" y="188"/>
                  </a:moveTo>
                  <a:lnTo>
                    <a:pt x="283" y="247"/>
                  </a:lnTo>
                  <a:lnTo>
                    <a:pt x="270" y="254"/>
                  </a:lnTo>
                  <a:lnTo>
                    <a:pt x="0" y="17"/>
                  </a:lnTo>
                  <a:lnTo>
                    <a:pt x="0" y="11"/>
                  </a:lnTo>
                  <a:lnTo>
                    <a:pt x="72" y="0"/>
                  </a:lnTo>
                  <a:lnTo>
                    <a:pt x="288" y="188"/>
                  </a:lnTo>
                  <a:close/>
                </a:path>
              </a:pathLst>
            </a:custGeom>
            <a:solidFill>
              <a:srgbClr val="BC20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27">
              <a:extLst>
                <a:ext uri="{FF2B5EF4-FFF2-40B4-BE49-F238E27FC236}">
                  <a16:creationId xmlns:a16="http://schemas.microsoft.com/office/drawing/2014/main" id="{B235EC5C-68B2-4C25-A7D1-AEE3A629CA1E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4325" y="4867275"/>
              <a:ext cx="209550" cy="225425"/>
            </a:xfrm>
            <a:custGeom>
              <a:avLst/>
              <a:gdLst>
                <a:gd name="T0" fmla="*/ 17 w 132"/>
                <a:gd name="T1" fmla="*/ 142 h 142"/>
                <a:gd name="T2" fmla="*/ 4 w 132"/>
                <a:gd name="T3" fmla="*/ 135 h 142"/>
                <a:gd name="T4" fmla="*/ 0 w 132"/>
                <a:gd name="T5" fmla="*/ 76 h 142"/>
                <a:gd name="T6" fmla="*/ 86 w 132"/>
                <a:gd name="T7" fmla="*/ 0 h 142"/>
                <a:gd name="T8" fmla="*/ 132 w 132"/>
                <a:gd name="T9" fmla="*/ 41 h 142"/>
                <a:gd name="T10" fmla="*/ 17 w 132"/>
                <a:gd name="T11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2" h="142">
                  <a:moveTo>
                    <a:pt x="17" y="142"/>
                  </a:moveTo>
                  <a:lnTo>
                    <a:pt x="4" y="135"/>
                  </a:lnTo>
                  <a:lnTo>
                    <a:pt x="0" y="76"/>
                  </a:lnTo>
                  <a:lnTo>
                    <a:pt x="86" y="0"/>
                  </a:lnTo>
                  <a:lnTo>
                    <a:pt x="132" y="41"/>
                  </a:lnTo>
                  <a:lnTo>
                    <a:pt x="17" y="142"/>
                  </a:lnTo>
                  <a:close/>
                </a:path>
              </a:pathLst>
            </a:custGeom>
            <a:solidFill>
              <a:srgbClr val="931A1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28">
              <a:extLst>
                <a:ext uri="{FF2B5EF4-FFF2-40B4-BE49-F238E27FC236}">
                  <a16:creationId xmlns:a16="http://schemas.microsoft.com/office/drawing/2014/main" id="{D1091D35-B897-4BCD-AC06-B5CD7EA0DB15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4325" y="4591050"/>
              <a:ext cx="381000" cy="130175"/>
            </a:xfrm>
            <a:custGeom>
              <a:avLst/>
              <a:gdLst>
                <a:gd name="T0" fmla="*/ 143 w 240"/>
                <a:gd name="T1" fmla="*/ 60 h 82"/>
                <a:gd name="T2" fmla="*/ 3 w 240"/>
                <a:gd name="T3" fmla="*/ 82 h 82"/>
                <a:gd name="T4" fmla="*/ 0 w 240"/>
                <a:gd name="T5" fmla="*/ 79 h 82"/>
                <a:gd name="T6" fmla="*/ 4 w 240"/>
                <a:gd name="T7" fmla="*/ 21 h 82"/>
                <a:gd name="T8" fmla="*/ 139 w 240"/>
                <a:gd name="T9" fmla="*/ 0 h 82"/>
                <a:gd name="T10" fmla="*/ 147 w 240"/>
                <a:gd name="T11" fmla="*/ 0 h 82"/>
                <a:gd name="T12" fmla="*/ 240 w 240"/>
                <a:gd name="T13" fmla="*/ 14 h 82"/>
                <a:gd name="T14" fmla="*/ 240 w 240"/>
                <a:gd name="T15" fmla="*/ 76 h 82"/>
                <a:gd name="T16" fmla="*/ 143 w 240"/>
                <a:gd name="T17" fmla="*/ 60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0" h="82">
                  <a:moveTo>
                    <a:pt x="143" y="60"/>
                  </a:moveTo>
                  <a:lnTo>
                    <a:pt x="3" y="82"/>
                  </a:lnTo>
                  <a:lnTo>
                    <a:pt x="0" y="79"/>
                  </a:lnTo>
                  <a:lnTo>
                    <a:pt x="4" y="21"/>
                  </a:lnTo>
                  <a:lnTo>
                    <a:pt x="139" y="0"/>
                  </a:lnTo>
                  <a:lnTo>
                    <a:pt x="147" y="0"/>
                  </a:lnTo>
                  <a:lnTo>
                    <a:pt x="240" y="14"/>
                  </a:lnTo>
                  <a:lnTo>
                    <a:pt x="240" y="76"/>
                  </a:lnTo>
                  <a:lnTo>
                    <a:pt x="143" y="60"/>
                  </a:lnTo>
                  <a:close/>
                </a:path>
              </a:pathLst>
            </a:custGeom>
            <a:solidFill>
              <a:srgbClr val="F47D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29">
              <a:extLst>
                <a:ext uri="{FF2B5EF4-FFF2-40B4-BE49-F238E27FC236}">
                  <a16:creationId xmlns:a16="http://schemas.microsoft.com/office/drawing/2014/main" id="{7E1EA12C-368C-4A26-A37A-BDEF26B52863}"/>
                </a:ext>
              </a:extLst>
            </p:cNvPr>
            <p:cNvSpPr>
              <a:spLocks/>
            </p:cNvSpPr>
            <p:nvPr/>
          </p:nvSpPr>
          <p:spPr bwMode="auto">
            <a:xfrm>
              <a:off x="4489450" y="4610100"/>
              <a:ext cx="95250" cy="207962"/>
            </a:xfrm>
            <a:custGeom>
              <a:avLst/>
              <a:gdLst>
                <a:gd name="T0" fmla="*/ 0 w 60"/>
                <a:gd name="T1" fmla="*/ 131 h 131"/>
                <a:gd name="T2" fmla="*/ 0 w 60"/>
                <a:gd name="T3" fmla="*/ 0 h 131"/>
                <a:gd name="T4" fmla="*/ 37 w 60"/>
                <a:gd name="T5" fmla="*/ 6 h 131"/>
                <a:gd name="T6" fmla="*/ 60 w 60"/>
                <a:gd name="T7" fmla="*/ 34 h 131"/>
                <a:gd name="T8" fmla="*/ 60 w 60"/>
                <a:gd name="T9" fmla="*/ 106 h 131"/>
                <a:gd name="T10" fmla="*/ 0 w 60"/>
                <a:gd name="T11" fmla="*/ 131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0" h="131">
                  <a:moveTo>
                    <a:pt x="0" y="131"/>
                  </a:moveTo>
                  <a:lnTo>
                    <a:pt x="0" y="0"/>
                  </a:lnTo>
                  <a:lnTo>
                    <a:pt x="37" y="6"/>
                  </a:lnTo>
                  <a:lnTo>
                    <a:pt x="60" y="34"/>
                  </a:lnTo>
                  <a:lnTo>
                    <a:pt x="60" y="106"/>
                  </a:lnTo>
                  <a:lnTo>
                    <a:pt x="0" y="131"/>
                  </a:lnTo>
                  <a:close/>
                </a:path>
              </a:pathLst>
            </a:custGeom>
            <a:solidFill>
              <a:srgbClr val="F9AC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30">
              <a:extLst>
                <a:ext uri="{FF2B5EF4-FFF2-40B4-BE49-F238E27FC236}">
                  <a16:creationId xmlns:a16="http://schemas.microsoft.com/office/drawing/2014/main" id="{9EE8E045-66BD-40F5-88F5-498821DF267F}"/>
                </a:ext>
              </a:extLst>
            </p:cNvPr>
            <p:cNvSpPr>
              <a:spLocks/>
            </p:cNvSpPr>
            <p:nvPr/>
          </p:nvSpPr>
          <p:spPr bwMode="auto">
            <a:xfrm>
              <a:off x="4465638" y="4606925"/>
              <a:ext cx="23812" cy="100012"/>
            </a:xfrm>
            <a:custGeom>
              <a:avLst/>
              <a:gdLst>
                <a:gd name="T0" fmla="*/ 0 w 15"/>
                <a:gd name="T1" fmla="*/ 61 h 63"/>
                <a:gd name="T2" fmla="*/ 15 w 15"/>
                <a:gd name="T3" fmla="*/ 63 h 63"/>
                <a:gd name="T4" fmla="*/ 15 w 15"/>
                <a:gd name="T5" fmla="*/ 2 h 63"/>
                <a:gd name="T6" fmla="*/ 0 w 15"/>
                <a:gd name="T7" fmla="*/ 0 h 63"/>
                <a:gd name="T8" fmla="*/ 0 w 15"/>
                <a:gd name="T9" fmla="*/ 6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63">
                  <a:moveTo>
                    <a:pt x="0" y="61"/>
                  </a:moveTo>
                  <a:lnTo>
                    <a:pt x="15" y="63"/>
                  </a:lnTo>
                  <a:lnTo>
                    <a:pt x="15" y="2"/>
                  </a:lnTo>
                  <a:lnTo>
                    <a:pt x="0" y="0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F155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31">
              <a:extLst>
                <a:ext uri="{FF2B5EF4-FFF2-40B4-BE49-F238E27FC236}">
                  <a16:creationId xmlns:a16="http://schemas.microsoft.com/office/drawing/2014/main" id="{D3E9F10F-D425-44E7-8CB5-36B76201B220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9088" y="4702175"/>
              <a:ext cx="147637" cy="39687"/>
            </a:xfrm>
            <a:custGeom>
              <a:avLst/>
              <a:gdLst>
                <a:gd name="T0" fmla="*/ 15 w 93"/>
                <a:gd name="T1" fmla="*/ 25 h 25"/>
                <a:gd name="T2" fmla="*/ 93 w 93"/>
                <a:gd name="T3" fmla="*/ 13 h 25"/>
                <a:gd name="T4" fmla="*/ 78 w 93"/>
                <a:gd name="T5" fmla="*/ 0 h 25"/>
                <a:gd name="T6" fmla="*/ 0 w 93"/>
                <a:gd name="T7" fmla="*/ 12 h 25"/>
                <a:gd name="T8" fmla="*/ 15 w 93"/>
                <a:gd name="T9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" h="25">
                  <a:moveTo>
                    <a:pt x="15" y="25"/>
                  </a:moveTo>
                  <a:lnTo>
                    <a:pt x="93" y="13"/>
                  </a:lnTo>
                  <a:lnTo>
                    <a:pt x="78" y="0"/>
                  </a:lnTo>
                  <a:lnTo>
                    <a:pt x="0" y="12"/>
                  </a:lnTo>
                  <a:lnTo>
                    <a:pt x="15" y="25"/>
                  </a:lnTo>
                  <a:close/>
                </a:path>
              </a:pathLst>
            </a:custGeom>
            <a:solidFill>
              <a:srgbClr val="931A1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32">
              <a:extLst>
                <a:ext uri="{FF2B5EF4-FFF2-40B4-BE49-F238E27FC236}">
                  <a16:creationId xmlns:a16="http://schemas.microsoft.com/office/drawing/2014/main" id="{8B39189E-56CF-49F7-996E-6457A11B4AB0}"/>
                </a:ext>
              </a:extLst>
            </p:cNvPr>
            <p:cNvSpPr>
              <a:spLocks/>
            </p:cNvSpPr>
            <p:nvPr/>
          </p:nvSpPr>
          <p:spPr bwMode="auto">
            <a:xfrm>
              <a:off x="4452938" y="5022850"/>
              <a:ext cx="100012" cy="79375"/>
            </a:xfrm>
            <a:custGeom>
              <a:avLst/>
              <a:gdLst>
                <a:gd name="T0" fmla="*/ 63 w 63"/>
                <a:gd name="T1" fmla="*/ 44 h 50"/>
                <a:gd name="T2" fmla="*/ 15 w 63"/>
                <a:gd name="T3" fmla="*/ 0 h 50"/>
                <a:gd name="T4" fmla="*/ 0 w 63"/>
                <a:gd name="T5" fmla="*/ 8 h 50"/>
                <a:gd name="T6" fmla="*/ 49 w 63"/>
                <a:gd name="T7" fmla="*/ 50 h 50"/>
                <a:gd name="T8" fmla="*/ 63 w 63"/>
                <a:gd name="T9" fmla="*/ 44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50">
                  <a:moveTo>
                    <a:pt x="63" y="44"/>
                  </a:moveTo>
                  <a:lnTo>
                    <a:pt x="15" y="0"/>
                  </a:lnTo>
                  <a:lnTo>
                    <a:pt x="0" y="8"/>
                  </a:lnTo>
                  <a:lnTo>
                    <a:pt x="49" y="50"/>
                  </a:lnTo>
                  <a:lnTo>
                    <a:pt x="63" y="44"/>
                  </a:lnTo>
                  <a:close/>
                </a:path>
              </a:pathLst>
            </a:custGeom>
            <a:solidFill>
              <a:srgbClr val="D025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33">
              <a:extLst>
                <a:ext uri="{FF2B5EF4-FFF2-40B4-BE49-F238E27FC236}">
                  <a16:creationId xmlns:a16="http://schemas.microsoft.com/office/drawing/2014/main" id="{E74A06D7-8AF7-42E4-B91B-1C0A45BCDFC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51313" y="5022850"/>
              <a:ext cx="100012" cy="79375"/>
            </a:xfrm>
            <a:custGeom>
              <a:avLst/>
              <a:gdLst>
                <a:gd name="T0" fmla="*/ 0 w 63"/>
                <a:gd name="T1" fmla="*/ 44 h 50"/>
                <a:gd name="T2" fmla="*/ 14 w 63"/>
                <a:gd name="T3" fmla="*/ 50 h 50"/>
                <a:gd name="T4" fmla="*/ 63 w 63"/>
                <a:gd name="T5" fmla="*/ 8 h 50"/>
                <a:gd name="T6" fmla="*/ 48 w 63"/>
                <a:gd name="T7" fmla="*/ 0 h 50"/>
                <a:gd name="T8" fmla="*/ 0 w 63"/>
                <a:gd name="T9" fmla="*/ 44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50">
                  <a:moveTo>
                    <a:pt x="0" y="44"/>
                  </a:moveTo>
                  <a:lnTo>
                    <a:pt x="14" y="50"/>
                  </a:lnTo>
                  <a:lnTo>
                    <a:pt x="63" y="8"/>
                  </a:lnTo>
                  <a:lnTo>
                    <a:pt x="48" y="0"/>
                  </a:lnTo>
                  <a:lnTo>
                    <a:pt x="0" y="44"/>
                  </a:lnTo>
                  <a:close/>
                </a:path>
              </a:pathLst>
            </a:custGeom>
            <a:solidFill>
              <a:srgbClr val="D025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0" name="Rectangle 9">
            <a:extLst>
              <a:ext uri="{FF2B5EF4-FFF2-40B4-BE49-F238E27FC236}">
                <a16:creationId xmlns:a16="http://schemas.microsoft.com/office/drawing/2014/main" id="{42BEB269-F91F-458E-896B-10C7CC8E8AEF}"/>
              </a:ext>
            </a:extLst>
          </p:cNvPr>
          <p:cNvSpPr/>
          <p:nvPr/>
        </p:nvSpPr>
        <p:spPr>
          <a:xfrm>
            <a:off x="240702" y="360844"/>
            <a:ext cx="76200" cy="64880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graphicFrame>
        <p:nvGraphicFramePr>
          <p:cNvPr id="45" name="Object 44" hidden="1">
            <a:extLst>
              <a:ext uri="{FF2B5EF4-FFF2-40B4-BE49-F238E27FC236}">
                <a16:creationId xmlns:a16="http://schemas.microsoft.com/office/drawing/2014/main" id="{B6A8E5E9-3DED-4186-BD10-F2C817F7F8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0"/>
            </p:custDataLst>
            <p:extLst>
              <p:ext uri="{D42A27DB-BD31-4B8C-83A1-F6EECF244321}">
                <p14:modId xmlns:p14="http://schemas.microsoft.com/office/powerpoint/2010/main" val="7316058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905" name="think-cell Slide" r:id="rId47" imgW="270" imgH="270" progId="TCLayout.ActiveDocument.1">
                  <p:embed/>
                </p:oleObj>
              </mc:Choice>
              <mc:Fallback>
                <p:oleObj name="think-cell Slide" r:id="rId47" imgW="270" imgH="270" progId="TCLayout.ActiveDocument.1">
                  <p:embed/>
                  <p:pic>
                    <p:nvPicPr>
                      <p:cNvPr id="32" name="Object 31" hidden="1">
                        <a:extLst>
                          <a:ext uri="{FF2B5EF4-FFF2-40B4-BE49-F238E27FC236}">
                            <a16:creationId xmlns:a16="http://schemas.microsoft.com/office/drawing/2014/main" id="{C3F33D86-0E0A-4F5E-BE04-18C2F0FD8F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6" name="Rectangle 45" hidden="1">
            <a:extLst>
              <a:ext uri="{FF2B5EF4-FFF2-40B4-BE49-F238E27FC236}">
                <a16:creationId xmlns:a16="http://schemas.microsoft.com/office/drawing/2014/main" id="{C4CAD0CA-F2B7-4794-AF83-E1200D8C943A}"/>
              </a:ext>
            </a:extLst>
          </p:cNvPr>
          <p:cNvSpPr/>
          <p:nvPr userDrawn="1">
            <p:custDataLst>
              <p:tags r:id="rId4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000" b="0" i="0" baseline="0" dirty="0">
              <a:latin typeface="Arial" panose="020B0604020202020204" pitchFamily="34" charset="0"/>
              <a:ea typeface="+mj-ea"/>
              <a:cs typeface="+mj-cs"/>
              <a:sym typeface="Lato Semibold" panose="020F0502020204030203" pitchFamily="34" charset="0"/>
            </a:endParaRPr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913E804F-7227-4028-B77C-35175004DBC3}"/>
              </a:ext>
            </a:extLst>
          </p:cNvPr>
          <p:cNvGrpSpPr/>
          <p:nvPr userDrawn="1"/>
        </p:nvGrpSpPr>
        <p:grpSpPr>
          <a:xfrm>
            <a:off x="167808" y="6353461"/>
            <a:ext cx="271462" cy="351028"/>
            <a:chOff x="4124325" y="4591050"/>
            <a:chExt cx="460375" cy="595313"/>
          </a:xfrm>
        </p:grpSpPr>
        <p:sp>
          <p:nvSpPr>
            <p:cNvPr id="48" name="Freeform 25">
              <a:extLst>
                <a:ext uri="{FF2B5EF4-FFF2-40B4-BE49-F238E27FC236}">
                  <a16:creationId xmlns:a16="http://schemas.microsoft.com/office/drawing/2014/main" id="{81D616EA-C486-466A-B6CD-649E4C7C032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4325" y="4983163"/>
              <a:ext cx="457200" cy="203200"/>
            </a:xfrm>
            <a:custGeom>
              <a:avLst/>
              <a:gdLst>
                <a:gd name="T0" fmla="*/ 143 w 288"/>
                <a:gd name="T1" fmla="*/ 66 h 128"/>
                <a:gd name="T2" fmla="*/ 228 w 288"/>
                <a:gd name="T3" fmla="*/ 23 h 128"/>
                <a:gd name="T4" fmla="*/ 283 w 288"/>
                <a:gd name="T5" fmla="*/ 0 h 128"/>
                <a:gd name="T6" fmla="*/ 288 w 288"/>
                <a:gd name="T7" fmla="*/ 3 h 128"/>
                <a:gd name="T8" fmla="*/ 283 w 288"/>
                <a:gd name="T9" fmla="*/ 62 h 128"/>
                <a:gd name="T10" fmla="*/ 156 w 288"/>
                <a:gd name="T11" fmla="*/ 128 h 128"/>
                <a:gd name="T12" fmla="*/ 131 w 288"/>
                <a:gd name="T13" fmla="*/ 128 h 128"/>
                <a:gd name="T14" fmla="*/ 4 w 288"/>
                <a:gd name="T15" fmla="*/ 62 h 128"/>
                <a:gd name="T16" fmla="*/ 0 w 288"/>
                <a:gd name="T17" fmla="*/ 3 h 128"/>
                <a:gd name="T18" fmla="*/ 4 w 288"/>
                <a:gd name="T19" fmla="*/ 0 h 128"/>
                <a:gd name="T20" fmla="*/ 59 w 288"/>
                <a:gd name="T21" fmla="*/ 23 h 128"/>
                <a:gd name="T22" fmla="*/ 143 w 288"/>
                <a:gd name="T23" fmla="*/ 66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88" h="128">
                  <a:moveTo>
                    <a:pt x="143" y="66"/>
                  </a:moveTo>
                  <a:lnTo>
                    <a:pt x="228" y="23"/>
                  </a:lnTo>
                  <a:lnTo>
                    <a:pt x="283" y="0"/>
                  </a:lnTo>
                  <a:lnTo>
                    <a:pt x="288" y="3"/>
                  </a:lnTo>
                  <a:lnTo>
                    <a:pt x="283" y="62"/>
                  </a:lnTo>
                  <a:lnTo>
                    <a:pt x="156" y="128"/>
                  </a:lnTo>
                  <a:lnTo>
                    <a:pt x="131" y="128"/>
                  </a:lnTo>
                  <a:lnTo>
                    <a:pt x="4" y="62"/>
                  </a:lnTo>
                  <a:lnTo>
                    <a:pt x="0" y="3"/>
                  </a:lnTo>
                  <a:lnTo>
                    <a:pt x="4" y="0"/>
                  </a:lnTo>
                  <a:lnTo>
                    <a:pt x="59" y="23"/>
                  </a:lnTo>
                  <a:lnTo>
                    <a:pt x="143" y="66"/>
                  </a:lnTo>
                  <a:close/>
                </a:path>
              </a:pathLst>
            </a:custGeom>
            <a:solidFill>
              <a:srgbClr val="F155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26">
              <a:extLst>
                <a:ext uri="{FF2B5EF4-FFF2-40B4-BE49-F238E27FC236}">
                  <a16:creationId xmlns:a16="http://schemas.microsoft.com/office/drawing/2014/main" id="{8FEBF371-6DC7-4DA1-BDD7-5386F91B78F2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4325" y="4689475"/>
              <a:ext cx="457200" cy="403225"/>
            </a:xfrm>
            <a:custGeom>
              <a:avLst/>
              <a:gdLst>
                <a:gd name="T0" fmla="*/ 288 w 288"/>
                <a:gd name="T1" fmla="*/ 188 h 254"/>
                <a:gd name="T2" fmla="*/ 283 w 288"/>
                <a:gd name="T3" fmla="*/ 247 h 254"/>
                <a:gd name="T4" fmla="*/ 270 w 288"/>
                <a:gd name="T5" fmla="*/ 254 h 254"/>
                <a:gd name="T6" fmla="*/ 0 w 288"/>
                <a:gd name="T7" fmla="*/ 17 h 254"/>
                <a:gd name="T8" fmla="*/ 0 w 288"/>
                <a:gd name="T9" fmla="*/ 11 h 254"/>
                <a:gd name="T10" fmla="*/ 72 w 288"/>
                <a:gd name="T11" fmla="*/ 0 h 254"/>
                <a:gd name="T12" fmla="*/ 288 w 288"/>
                <a:gd name="T13" fmla="*/ 188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8" h="254">
                  <a:moveTo>
                    <a:pt x="288" y="188"/>
                  </a:moveTo>
                  <a:lnTo>
                    <a:pt x="283" y="247"/>
                  </a:lnTo>
                  <a:lnTo>
                    <a:pt x="270" y="254"/>
                  </a:lnTo>
                  <a:lnTo>
                    <a:pt x="0" y="17"/>
                  </a:lnTo>
                  <a:lnTo>
                    <a:pt x="0" y="11"/>
                  </a:lnTo>
                  <a:lnTo>
                    <a:pt x="72" y="0"/>
                  </a:lnTo>
                  <a:lnTo>
                    <a:pt x="288" y="188"/>
                  </a:lnTo>
                  <a:close/>
                </a:path>
              </a:pathLst>
            </a:custGeom>
            <a:solidFill>
              <a:srgbClr val="BC20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27">
              <a:extLst>
                <a:ext uri="{FF2B5EF4-FFF2-40B4-BE49-F238E27FC236}">
                  <a16:creationId xmlns:a16="http://schemas.microsoft.com/office/drawing/2014/main" id="{A8E337B6-0300-4898-9572-53589ACAB635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4325" y="4867275"/>
              <a:ext cx="209550" cy="225425"/>
            </a:xfrm>
            <a:custGeom>
              <a:avLst/>
              <a:gdLst>
                <a:gd name="T0" fmla="*/ 17 w 132"/>
                <a:gd name="T1" fmla="*/ 142 h 142"/>
                <a:gd name="T2" fmla="*/ 4 w 132"/>
                <a:gd name="T3" fmla="*/ 135 h 142"/>
                <a:gd name="T4" fmla="*/ 0 w 132"/>
                <a:gd name="T5" fmla="*/ 76 h 142"/>
                <a:gd name="T6" fmla="*/ 86 w 132"/>
                <a:gd name="T7" fmla="*/ 0 h 142"/>
                <a:gd name="T8" fmla="*/ 132 w 132"/>
                <a:gd name="T9" fmla="*/ 41 h 142"/>
                <a:gd name="T10" fmla="*/ 17 w 132"/>
                <a:gd name="T11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2" h="142">
                  <a:moveTo>
                    <a:pt x="17" y="142"/>
                  </a:moveTo>
                  <a:lnTo>
                    <a:pt x="4" y="135"/>
                  </a:lnTo>
                  <a:lnTo>
                    <a:pt x="0" y="76"/>
                  </a:lnTo>
                  <a:lnTo>
                    <a:pt x="86" y="0"/>
                  </a:lnTo>
                  <a:lnTo>
                    <a:pt x="132" y="41"/>
                  </a:lnTo>
                  <a:lnTo>
                    <a:pt x="17" y="142"/>
                  </a:lnTo>
                  <a:close/>
                </a:path>
              </a:pathLst>
            </a:custGeom>
            <a:solidFill>
              <a:srgbClr val="931A1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28">
              <a:extLst>
                <a:ext uri="{FF2B5EF4-FFF2-40B4-BE49-F238E27FC236}">
                  <a16:creationId xmlns:a16="http://schemas.microsoft.com/office/drawing/2014/main" id="{C635D8B7-88FC-44C9-84D5-9B6CC5CB76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4325" y="4591050"/>
              <a:ext cx="381000" cy="130175"/>
            </a:xfrm>
            <a:custGeom>
              <a:avLst/>
              <a:gdLst>
                <a:gd name="T0" fmla="*/ 143 w 240"/>
                <a:gd name="T1" fmla="*/ 60 h 82"/>
                <a:gd name="T2" fmla="*/ 3 w 240"/>
                <a:gd name="T3" fmla="*/ 82 h 82"/>
                <a:gd name="T4" fmla="*/ 0 w 240"/>
                <a:gd name="T5" fmla="*/ 79 h 82"/>
                <a:gd name="T6" fmla="*/ 4 w 240"/>
                <a:gd name="T7" fmla="*/ 21 h 82"/>
                <a:gd name="T8" fmla="*/ 139 w 240"/>
                <a:gd name="T9" fmla="*/ 0 h 82"/>
                <a:gd name="T10" fmla="*/ 147 w 240"/>
                <a:gd name="T11" fmla="*/ 0 h 82"/>
                <a:gd name="T12" fmla="*/ 240 w 240"/>
                <a:gd name="T13" fmla="*/ 14 h 82"/>
                <a:gd name="T14" fmla="*/ 240 w 240"/>
                <a:gd name="T15" fmla="*/ 76 h 82"/>
                <a:gd name="T16" fmla="*/ 143 w 240"/>
                <a:gd name="T17" fmla="*/ 60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0" h="82">
                  <a:moveTo>
                    <a:pt x="143" y="60"/>
                  </a:moveTo>
                  <a:lnTo>
                    <a:pt x="3" y="82"/>
                  </a:lnTo>
                  <a:lnTo>
                    <a:pt x="0" y="79"/>
                  </a:lnTo>
                  <a:lnTo>
                    <a:pt x="4" y="21"/>
                  </a:lnTo>
                  <a:lnTo>
                    <a:pt x="139" y="0"/>
                  </a:lnTo>
                  <a:lnTo>
                    <a:pt x="147" y="0"/>
                  </a:lnTo>
                  <a:lnTo>
                    <a:pt x="240" y="14"/>
                  </a:lnTo>
                  <a:lnTo>
                    <a:pt x="240" y="76"/>
                  </a:lnTo>
                  <a:lnTo>
                    <a:pt x="143" y="60"/>
                  </a:lnTo>
                  <a:close/>
                </a:path>
              </a:pathLst>
            </a:custGeom>
            <a:solidFill>
              <a:srgbClr val="F47D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29">
              <a:extLst>
                <a:ext uri="{FF2B5EF4-FFF2-40B4-BE49-F238E27FC236}">
                  <a16:creationId xmlns:a16="http://schemas.microsoft.com/office/drawing/2014/main" id="{A067701C-95D2-463E-8259-6C5EDAD7D210}"/>
                </a:ext>
              </a:extLst>
            </p:cNvPr>
            <p:cNvSpPr>
              <a:spLocks/>
            </p:cNvSpPr>
            <p:nvPr/>
          </p:nvSpPr>
          <p:spPr bwMode="auto">
            <a:xfrm>
              <a:off x="4489450" y="4610100"/>
              <a:ext cx="95250" cy="207962"/>
            </a:xfrm>
            <a:custGeom>
              <a:avLst/>
              <a:gdLst>
                <a:gd name="T0" fmla="*/ 0 w 60"/>
                <a:gd name="T1" fmla="*/ 131 h 131"/>
                <a:gd name="T2" fmla="*/ 0 w 60"/>
                <a:gd name="T3" fmla="*/ 0 h 131"/>
                <a:gd name="T4" fmla="*/ 37 w 60"/>
                <a:gd name="T5" fmla="*/ 6 h 131"/>
                <a:gd name="T6" fmla="*/ 60 w 60"/>
                <a:gd name="T7" fmla="*/ 34 h 131"/>
                <a:gd name="T8" fmla="*/ 60 w 60"/>
                <a:gd name="T9" fmla="*/ 106 h 131"/>
                <a:gd name="T10" fmla="*/ 0 w 60"/>
                <a:gd name="T11" fmla="*/ 131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0" h="131">
                  <a:moveTo>
                    <a:pt x="0" y="131"/>
                  </a:moveTo>
                  <a:lnTo>
                    <a:pt x="0" y="0"/>
                  </a:lnTo>
                  <a:lnTo>
                    <a:pt x="37" y="6"/>
                  </a:lnTo>
                  <a:lnTo>
                    <a:pt x="60" y="34"/>
                  </a:lnTo>
                  <a:lnTo>
                    <a:pt x="60" y="106"/>
                  </a:lnTo>
                  <a:lnTo>
                    <a:pt x="0" y="131"/>
                  </a:lnTo>
                  <a:close/>
                </a:path>
              </a:pathLst>
            </a:custGeom>
            <a:solidFill>
              <a:srgbClr val="F9AC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30">
              <a:extLst>
                <a:ext uri="{FF2B5EF4-FFF2-40B4-BE49-F238E27FC236}">
                  <a16:creationId xmlns:a16="http://schemas.microsoft.com/office/drawing/2014/main" id="{CB4BDD23-6E08-4B43-8E99-90B4673801AD}"/>
                </a:ext>
              </a:extLst>
            </p:cNvPr>
            <p:cNvSpPr>
              <a:spLocks/>
            </p:cNvSpPr>
            <p:nvPr/>
          </p:nvSpPr>
          <p:spPr bwMode="auto">
            <a:xfrm>
              <a:off x="4465638" y="4606925"/>
              <a:ext cx="23812" cy="100012"/>
            </a:xfrm>
            <a:custGeom>
              <a:avLst/>
              <a:gdLst>
                <a:gd name="T0" fmla="*/ 0 w 15"/>
                <a:gd name="T1" fmla="*/ 61 h 63"/>
                <a:gd name="T2" fmla="*/ 15 w 15"/>
                <a:gd name="T3" fmla="*/ 63 h 63"/>
                <a:gd name="T4" fmla="*/ 15 w 15"/>
                <a:gd name="T5" fmla="*/ 2 h 63"/>
                <a:gd name="T6" fmla="*/ 0 w 15"/>
                <a:gd name="T7" fmla="*/ 0 h 63"/>
                <a:gd name="T8" fmla="*/ 0 w 15"/>
                <a:gd name="T9" fmla="*/ 6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63">
                  <a:moveTo>
                    <a:pt x="0" y="61"/>
                  </a:moveTo>
                  <a:lnTo>
                    <a:pt x="15" y="63"/>
                  </a:lnTo>
                  <a:lnTo>
                    <a:pt x="15" y="2"/>
                  </a:lnTo>
                  <a:lnTo>
                    <a:pt x="0" y="0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F155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31">
              <a:extLst>
                <a:ext uri="{FF2B5EF4-FFF2-40B4-BE49-F238E27FC236}">
                  <a16:creationId xmlns:a16="http://schemas.microsoft.com/office/drawing/2014/main" id="{93B962FF-B078-4017-958A-E41D73D6ECC2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9088" y="4702175"/>
              <a:ext cx="147637" cy="39687"/>
            </a:xfrm>
            <a:custGeom>
              <a:avLst/>
              <a:gdLst>
                <a:gd name="T0" fmla="*/ 15 w 93"/>
                <a:gd name="T1" fmla="*/ 25 h 25"/>
                <a:gd name="T2" fmla="*/ 93 w 93"/>
                <a:gd name="T3" fmla="*/ 13 h 25"/>
                <a:gd name="T4" fmla="*/ 78 w 93"/>
                <a:gd name="T5" fmla="*/ 0 h 25"/>
                <a:gd name="T6" fmla="*/ 0 w 93"/>
                <a:gd name="T7" fmla="*/ 12 h 25"/>
                <a:gd name="T8" fmla="*/ 15 w 93"/>
                <a:gd name="T9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" h="25">
                  <a:moveTo>
                    <a:pt x="15" y="25"/>
                  </a:moveTo>
                  <a:lnTo>
                    <a:pt x="93" y="13"/>
                  </a:lnTo>
                  <a:lnTo>
                    <a:pt x="78" y="0"/>
                  </a:lnTo>
                  <a:lnTo>
                    <a:pt x="0" y="12"/>
                  </a:lnTo>
                  <a:lnTo>
                    <a:pt x="15" y="25"/>
                  </a:lnTo>
                  <a:close/>
                </a:path>
              </a:pathLst>
            </a:custGeom>
            <a:solidFill>
              <a:srgbClr val="931A1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32">
              <a:extLst>
                <a:ext uri="{FF2B5EF4-FFF2-40B4-BE49-F238E27FC236}">
                  <a16:creationId xmlns:a16="http://schemas.microsoft.com/office/drawing/2014/main" id="{A92A557F-18C7-4504-A10A-57479239FF7F}"/>
                </a:ext>
              </a:extLst>
            </p:cNvPr>
            <p:cNvSpPr>
              <a:spLocks/>
            </p:cNvSpPr>
            <p:nvPr/>
          </p:nvSpPr>
          <p:spPr bwMode="auto">
            <a:xfrm>
              <a:off x="4452938" y="5022850"/>
              <a:ext cx="100012" cy="79375"/>
            </a:xfrm>
            <a:custGeom>
              <a:avLst/>
              <a:gdLst>
                <a:gd name="T0" fmla="*/ 63 w 63"/>
                <a:gd name="T1" fmla="*/ 44 h 50"/>
                <a:gd name="T2" fmla="*/ 15 w 63"/>
                <a:gd name="T3" fmla="*/ 0 h 50"/>
                <a:gd name="T4" fmla="*/ 0 w 63"/>
                <a:gd name="T5" fmla="*/ 8 h 50"/>
                <a:gd name="T6" fmla="*/ 49 w 63"/>
                <a:gd name="T7" fmla="*/ 50 h 50"/>
                <a:gd name="T8" fmla="*/ 63 w 63"/>
                <a:gd name="T9" fmla="*/ 44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50">
                  <a:moveTo>
                    <a:pt x="63" y="44"/>
                  </a:moveTo>
                  <a:lnTo>
                    <a:pt x="15" y="0"/>
                  </a:lnTo>
                  <a:lnTo>
                    <a:pt x="0" y="8"/>
                  </a:lnTo>
                  <a:lnTo>
                    <a:pt x="49" y="50"/>
                  </a:lnTo>
                  <a:lnTo>
                    <a:pt x="63" y="44"/>
                  </a:lnTo>
                  <a:close/>
                </a:path>
              </a:pathLst>
            </a:custGeom>
            <a:solidFill>
              <a:srgbClr val="D025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33">
              <a:extLst>
                <a:ext uri="{FF2B5EF4-FFF2-40B4-BE49-F238E27FC236}">
                  <a16:creationId xmlns:a16="http://schemas.microsoft.com/office/drawing/2014/main" id="{5A9AD15B-71B8-4B0A-8CA2-516C36D7A83C}"/>
                </a:ext>
              </a:extLst>
            </p:cNvPr>
            <p:cNvSpPr>
              <a:spLocks/>
            </p:cNvSpPr>
            <p:nvPr/>
          </p:nvSpPr>
          <p:spPr bwMode="auto">
            <a:xfrm>
              <a:off x="4151313" y="5022850"/>
              <a:ext cx="100012" cy="79375"/>
            </a:xfrm>
            <a:custGeom>
              <a:avLst/>
              <a:gdLst>
                <a:gd name="T0" fmla="*/ 0 w 63"/>
                <a:gd name="T1" fmla="*/ 44 h 50"/>
                <a:gd name="T2" fmla="*/ 14 w 63"/>
                <a:gd name="T3" fmla="*/ 50 h 50"/>
                <a:gd name="T4" fmla="*/ 63 w 63"/>
                <a:gd name="T5" fmla="*/ 8 h 50"/>
                <a:gd name="T6" fmla="*/ 48 w 63"/>
                <a:gd name="T7" fmla="*/ 0 h 50"/>
                <a:gd name="T8" fmla="*/ 0 w 63"/>
                <a:gd name="T9" fmla="*/ 44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50">
                  <a:moveTo>
                    <a:pt x="0" y="44"/>
                  </a:moveTo>
                  <a:lnTo>
                    <a:pt x="14" y="50"/>
                  </a:lnTo>
                  <a:lnTo>
                    <a:pt x="63" y="8"/>
                  </a:lnTo>
                  <a:lnTo>
                    <a:pt x="48" y="0"/>
                  </a:lnTo>
                  <a:lnTo>
                    <a:pt x="0" y="44"/>
                  </a:lnTo>
                  <a:close/>
                </a:path>
              </a:pathLst>
            </a:custGeom>
            <a:solidFill>
              <a:srgbClr val="D025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4409309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85" r:id="rId1"/>
    <p:sldLayoutId id="2147484493" r:id="rId2"/>
    <p:sldLayoutId id="2147484486" r:id="rId3"/>
    <p:sldLayoutId id="2147484487" r:id="rId4"/>
    <p:sldLayoutId id="2147484488" r:id="rId5"/>
    <p:sldLayoutId id="2147484489" r:id="rId6"/>
    <p:sldLayoutId id="2147484490" r:id="rId7"/>
    <p:sldLayoutId id="2147484491" r:id="rId8"/>
    <p:sldLayoutId id="2147484492" r:id="rId9"/>
    <p:sldLayoutId id="2147484495" r:id="rId10"/>
    <p:sldLayoutId id="2147484496" r:id="rId11"/>
    <p:sldLayoutId id="2147484498" r:id="rId12"/>
    <p:sldLayoutId id="2147484499" r:id="rId13"/>
    <p:sldLayoutId id="2147484500" r:id="rId14"/>
    <p:sldLayoutId id="2147484501" r:id="rId15"/>
    <p:sldLayoutId id="2147484502" r:id="rId16"/>
    <p:sldLayoutId id="2147484503" r:id="rId17"/>
    <p:sldLayoutId id="2147484504" r:id="rId18"/>
    <p:sldLayoutId id="2147484505" r:id="rId19"/>
    <p:sldLayoutId id="2147484506" r:id="rId20"/>
    <p:sldLayoutId id="2147484507" r:id="rId21"/>
    <p:sldLayoutId id="2147484511" r:id="rId22"/>
    <p:sldLayoutId id="2147484512" r:id="rId23"/>
    <p:sldLayoutId id="2147484513" r:id="rId24"/>
    <p:sldLayoutId id="2147484514" r:id="rId25"/>
    <p:sldLayoutId id="2147484518" r:id="rId26"/>
    <p:sldLayoutId id="2147484516" r:id="rId27"/>
    <p:sldLayoutId id="2147484517" r:id="rId28"/>
    <p:sldLayoutId id="2147484520" r:id="rId29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 cap="all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</p:titleStyle>
    <p:bodyStyle>
      <a:lvl1pPr marL="252000" indent="-252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 3" panose="05040102010807070707" pitchFamily="18" charset="2"/>
        <a:buChar char="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504000" indent="-252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 3" panose="05040102010807070707" pitchFamily="18" charset="2"/>
        <a:buChar char="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756000" indent="-252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 3" panose="05040102010807070707" pitchFamily="18" charset="2"/>
        <a:buChar char=""/>
        <a:defRPr lang="en-US" sz="14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1008000" indent="-252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 3" panose="05040102010807070707" pitchFamily="18" charset="2"/>
        <a:buChar char="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1260000" indent="-252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 3" panose="05040102010807070707" pitchFamily="18" charset="2"/>
        <a:buChar char="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3" orient="horz" pos="2160">
          <p15:clr>
            <a:srgbClr val="F26B43"/>
          </p15:clr>
        </p15:guide>
        <p15:guide id="14" pos="3840">
          <p15:clr>
            <a:srgbClr val="F26B43"/>
          </p15:clr>
        </p15:guide>
        <p15:guide id="15" pos="279">
          <p15:clr>
            <a:srgbClr val="F26B43"/>
          </p15:clr>
        </p15:guide>
        <p15:guide id="16" pos="7401">
          <p15:clr>
            <a:srgbClr val="F26B43"/>
          </p15:clr>
        </p15:guide>
        <p15:guide id="17" orient="horz" pos="3974">
          <p15:clr>
            <a:srgbClr val="F26B43"/>
          </p15:clr>
        </p15:guide>
        <p15:guide id="18" orient="horz" pos="84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hyperlink" Target="https://nextcloud.sparta.eu/index.php/s/MKSMtFANfAQPkJy" TargetMode="Externa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sparta.eu/study-programs/" TargetMode="External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curricula-designer.informacni-bezpecnost.cz/" TargetMode="Externa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AB58D5-BE9C-401E-B5B5-0B12A032AC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3200" dirty="0"/>
              <a:t>WP 9: </a:t>
            </a:r>
            <a:r>
              <a:rPr lang="en-US" sz="3200" dirty="0"/>
              <a:t> Cybersecurity training and awarenes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8915CB2-768C-47BB-B816-3AA0238D6D5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SPARTA AllWP9 Meeting</a:t>
            </a:r>
          </a:p>
          <a:p>
            <a:endParaRPr lang="sr-Latn-R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9523A11A-5DF0-4C37-A7B9-8FF13600854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b="1" dirty="0">
                <a:solidFill>
                  <a:schemeClr val="accent1"/>
                </a:solidFill>
              </a:rPr>
              <a:t>Jan </a:t>
            </a:r>
            <a:r>
              <a:rPr lang="en-US" b="1" dirty="0" err="1">
                <a:solidFill>
                  <a:schemeClr val="accent1"/>
                </a:solidFill>
              </a:rPr>
              <a:t>Hajny</a:t>
            </a:r>
            <a:endParaRPr lang="en-US" b="1" dirty="0">
              <a:solidFill>
                <a:schemeClr val="accent1"/>
              </a:solidFill>
            </a:endParaRPr>
          </a:p>
          <a:p>
            <a:r>
              <a:rPr lang="en-US" dirty="0"/>
              <a:t>@</a:t>
            </a:r>
            <a:r>
              <a:rPr lang="en-US" dirty="0" err="1"/>
              <a:t>sparta_eu</a:t>
            </a:r>
            <a:endParaRPr lang="en-US" dirty="0"/>
          </a:p>
          <a:p>
            <a:r>
              <a:rPr lang="en-US" dirty="0"/>
              <a:t>sparta.eu</a:t>
            </a:r>
          </a:p>
          <a:p>
            <a:r>
              <a:rPr lang="en-US" dirty="0"/>
              <a:t>February 2021</a:t>
            </a:r>
            <a:endParaRPr lang="sr-Latn-RS" dirty="0"/>
          </a:p>
        </p:txBody>
      </p:sp>
    </p:spTree>
    <p:extLst>
      <p:ext uri="{BB962C8B-B14F-4D97-AF65-F5344CB8AC3E}">
        <p14:creationId xmlns:p14="http://schemas.microsoft.com/office/powerpoint/2010/main" val="137668785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4 – Next Activities</a:t>
            </a:r>
            <a:br>
              <a:rPr lang="en-US" dirty="0"/>
            </a:br>
            <a:r>
              <a:rPr lang="en-US" dirty="0">
                <a:solidFill>
                  <a:schemeClr val="accent1"/>
                </a:solidFill>
              </a:rPr>
              <a:t>To Deliver</a:t>
            </a:r>
          </a:p>
        </p:txBody>
      </p:sp>
      <p:sp>
        <p:nvSpPr>
          <p:cNvPr id="6" name="Espace réservé du contenu 4">
            <a:extLst>
              <a:ext uri="{FF2B5EF4-FFF2-40B4-BE49-F238E27FC236}">
                <a16:creationId xmlns:a16="http://schemas.microsoft.com/office/drawing/2014/main" id="{0EF24A65-4D01-3249-A1F8-224E160D913B}"/>
              </a:ext>
            </a:extLst>
          </p:cNvPr>
          <p:cNvSpPr txBox="1">
            <a:spLocks/>
          </p:cNvSpPr>
          <p:nvPr/>
        </p:nvSpPr>
        <p:spPr>
          <a:xfrm>
            <a:off x="595312" y="1495200"/>
            <a:ext cx="10368000" cy="259972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 3" panose="05040102010807070707" pitchFamily="18" charset="2"/>
              <a:buChar char="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 3" panose="05040102010807070707" pitchFamily="18" charset="2"/>
              <a:buChar char="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 3" panose="05040102010807070707" pitchFamily="18" charset="2"/>
              <a:buChar char="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 3" panose="05040102010807070707" pitchFamily="18" charset="2"/>
              <a:buChar char="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 3" panose="05040102010807070707" pitchFamily="18" charset="2"/>
              <a:buChar char="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1" dirty="0"/>
              <a:t>D9.4, M30, Pilot of Cyber training &amp; exercise Framework</a:t>
            </a:r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marL="252000" lvl="1" indent="0">
              <a:buFont typeface="Wingdings 3" panose="05040102010807070707" pitchFamily="18" charset="2"/>
              <a:buNone/>
            </a:pPr>
            <a:endParaRPr lang="en-US" dirty="0"/>
          </a:p>
        </p:txBody>
      </p:sp>
      <p:graphicFrame>
        <p:nvGraphicFramePr>
          <p:cNvPr id="10" name="Tableau 5">
            <a:extLst>
              <a:ext uri="{FF2B5EF4-FFF2-40B4-BE49-F238E27FC236}">
                <a16:creationId xmlns:a16="http://schemas.microsoft.com/office/drawing/2014/main" id="{069C0807-A2B4-FB4E-BDFF-12FA79AF2CD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62437538"/>
              </p:ext>
            </p:extLst>
          </p:nvPr>
        </p:nvGraphicFramePr>
        <p:xfrm>
          <a:off x="884550" y="1834294"/>
          <a:ext cx="9750320" cy="1859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83984">
                  <a:extLst>
                    <a:ext uri="{9D8B030D-6E8A-4147-A177-3AD203B41FA5}">
                      <a16:colId xmlns:a16="http://schemas.microsoft.com/office/drawing/2014/main" val="3615954095"/>
                    </a:ext>
                  </a:extLst>
                </a:gridCol>
                <a:gridCol w="7666336">
                  <a:extLst>
                    <a:ext uri="{9D8B030D-6E8A-4147-A177-3AD203B41FA5}">
                      <a16:colId xmlns:a16="http://schemas.microsoft.com/office/drawing/2014/main" val="3942912552"/>
                    </a:ext>
                  </a:extLst>
                </a:gridCol>
              </a:tblGrid>
              <a:tr h="279037">
                <a:tc gridSpan="2">
                  <a:txBody>
                    <a:bodyPr/>
                    <a:lstStyle/>
                    <a:p>
                      <a:pPr algn="ctr"/>
                      <a:r>
                        <a:rPr lang="en-US" sz="1600" noProof="0" dirty="0"/>
                        <a:t>D9.4 – Pilot of Cyber training &amp; exercise Framework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noProof="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143380392"/>
                  </a:ext>
                </a:extLst>
              </a:tr>
              <a:tr h="279037">
                <a:tc>
                  <a:txBody>
                    <a:bodyPr/>
                    <a:lstStyle/>
                    <a:p>
                      <a:r>
                        <a:rPr lang="en-US" sz="1400" noProof="0" dirty="0"/>
                        <a:t>Deliverable Numbe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400" noProof="0" dirty="0"/>
                        <a:t>SU-ICT-03-830892 / D9.4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73706222"/>
                  </a:ext>
                </a:extLst>
              </a:tr>
              <a:tr h="279037">
                <a:tc>
                  <a:txBody>
                    <a:bodyPr/>
                    <a:lstStyle/>
                    <a:p>
                      <a:r>
                        <a:rPr lang="en-US" sz="1400" noProof="0" dirty="0"/>
                        <a:t>Due Dat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400" noProof="0" dirty="0"/>
                        <a:t>June 2021 – M3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780428369"/>
                  </a:ext>
                </a:extLst>
              </a:tr>
              <a:tr h="279037">
                <a:tc>
                  <a:txBody>
                    <a:bodyPr/>
                    <a:lstStyle/>
                    <a:p>
                      <a:r>
                        <a:rPr lang="en-US" sz="1400" noProof="0" dirty="0"/>
                        <a:t>Organiz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400" noProof="0" dirty="0"/>
                        <a:t>KTU – KAUNO TECHNOLOGIJOS UNIVERSITETA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42804758"/>
                  </a:ext>
                </a:extLst>
              </a:tr>
              <a:tr h="279037">
                <a:tc>
                  <a:txBody>
                    <a:bodyPr/>
                    <a:lstStyle/>
                    <a:p>
                      <a:r>
                        <a:rPr lang="en-US" sz="1400" noProof="0" dirty="0"/>
                        <a:t>Edito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400" noProof="0" dirty="0" err="1"/>
                        <a:t>Algimantas</a:t>
                      </a:r>
                      <a:r>
                        <a:rPr lang="en-US" sz="1400" noProof="0" dirty="0"/>
                        <a:t> </a:t>
                      </a:r>
                      <a:r>
                        <a:rPr lang="en-US" sz="1400" noProof="0" dirty="0" err="1"/>
                        <a:t>Venckauskas</a:t>
                      </a:r>
                      <a:endParaRPr lang="en-US" sz="1400" noProof="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399741755"/>
                  </a:ext>
                </a:extLst>
              </a:tr>
              <a:tr h="279037">
                <a:tc>
                  <a:txBody>
                    <a:bodyPr/>
                    <a:lstStyle/>
                    <a:p>
                      <a:r>
                        <a:rPr lang="en-US" sz="1400" noProof="0" dirty="0"/>
                        <a:t>Dissemin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400" noProof="0" dirty="0"/>
                        <a:t>Public, Demonstrator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348593309"/>
                  </a:ext>
                </a:extLst>
              </a:tr>
            </a:tbl>
          </a:graphicData>
        </a:graphic>
      </p:graphicFrame>
      <p:sp>
        <p:nvSpPr>
          <p:cNvPr id="5" name="Espace réservé du contenu 4">
            <a:extLst>
              <a:ext uri="{FF2B5EF4-FFF2-40B4-BE49-F238E27FC236}">
                <a16:creationId xmlns:a16="http://schemas.microsoft.com/office/drawing/2014/main" id="{D34BE490-E06E-FB4D-8406-D3FD5655FB3C}"/>
              </a:ext>
            </a:extLst>
          </p:cNvPr>
          <p:cNvSpPr txBox="1">
            <a:spLocks/>
          </p:cNvSpPr>
          <p:nvPr/>
        </p:nvSpPr>
        <p:spPr>
          <a:xfrm>
            <a:off x="595312" y="4094922"/>
            <a:ext cx="10368000" cy="259972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 3" panose="05040102010807070707" pitchFamily="18" charset="2"/>
              <a:buChar char="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 3" panose="05040102010807070707" pitchFamily="18" charset="2"/>
              <a:buChar char="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 3" panose="05040102010807070707" pitchFamily="18" charset="2"/>
              <a:buChar char="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 3" panose="05040102010807070707" pitchFamily="18" charset="2"/>
              <a:buChar char="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 3" panose="05040102010807070707" pitchFamily="18" charset="2"/>
              <a:buChar char="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1" dirty="0"/>
              <a:t>D9.5, M36, Workplace Integration Evaluation Report</a:t>
            </a:r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marL="252000" lvl="1" indent="0">
              <a:buFont typeface="Wingdings 3" panose="05040102010807070707" pitchFamily="18" charset="2"/>
              <a:buNone/>
            </a:pPr>
            <a:endParaRPr lang="en-US" dirty="0"/>
          </a:p>
        </p:txBody>
      </p:sp>
      <p:graphicFrame>
        <p:nvGraphicFramePr>
          <p:cNvPr id="7" name="Tableau 5">
            <a:extLst>
              <a:ext uri="{FF2B5EF4-FFF2-40B4-BE49-F238E27FC236}">
                <a16:creationId xmlns:a16="http://schemas.microsoft.com/office/drawing/2014/main" id="{67D1B482-13A9-D94B-A480-9CC26A3AB5C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17275100"/>
              </p:ext>
            </p:extLst>
          </p:nvPr>
        </p:nvGraphicFramePr>
        <p:xfrm>
          <a:off x="884550" y="4681060"/>
          <a:ext cx="9750320" cy="1859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83984">
                  <a:extLst>
                    <a:ext uri="{9D8B030D-6E8A-4147-A177-3AD203B41FA5}">
                      <a16:colId xmlns:a16="http://schemas.microsoft.com/office/drawing/2014/main" val="3615954095"/>
                    </a:ext>
                  </a:extLst>
                </a:gridCol>
                <a:gridCol w="7666336">
                  <a:extLst>
                    <a:ext uri="{9D8B030D-6E8A-4147-A177-3AD203B41FA5}">
                      <a16:colId xmlns:a16="http://schemas.microsoft.com/office/drawing/2014/main" val="3942912552"/>
                    </a:ext>
                  </a:extLst>
                </a:gridCol>
              </a:tblGrid>
              <a:tr h="279037">
                <a:tc gridSpan="2">
                  <a:txBody>
                    <a:bodyPr/>
                    <a:lstStyle/>
                    <a:p>
                      <a:pPr algn="ctr"/>
                      <a:r>
                        <a:rPr lang="en-US" sz="1600" noProof="0" dirty="0"/>
                        <a:t>D9.5 – Workplace Integration Evaluation Report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noProof="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143380392"/>
                  </a:ext>
                </a:extLst>
              </a:tr>
              <a:tr h="279037">
                <a:tc>
                  <a:txBody>
                    <a:bodyPr/>
                    <a:lstStyle/>
                    <a:p>
                      <a:r>
                        <a:rPr lang="en-US" sz="1400" noProof="0" dirty="0"/>
                        <a:t>Deliverable Numbe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400" noProof="0" dirty="0"/>
                        <a:t>SU-ICT-03-830892 / D9.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73706222"/>
                  </a:ext>
                </a:extLst>
              </a:tr>
              <a:tr h="279037">
                <a:tc>
                  <a:txBody>
                    <a:bodyPr/>
                    <a:lstStyle/>
                    <a:p>
                      <a:r>
                        <a:rPr lang="en-US" sz="1400" noProof="0" dirty="0"/>
                        <a:t>Due Dat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400" noProof="0" dirty="0"/>
                        <a:t>Jan 2022 – M36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780428369"/>
                  </a:ext>
                </a:extLst>
              </a:tr>
              <a:tr h="279037">
                <a:tc>
                  <a:txBody>
                    <a:bodyPr/>
                    <a:lstStyle/>
                    <a:p>
                      <a:r>
                        <a:rPr lang="en-US" sz="1400" noProof="0" dirty="0"/>
                        <a:t>Organiz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400" noProof="0" dirty="0"/>
                        <a:t>IMT – INSTITUT MINES-TELECOM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42804758"/>
                  </a:ext>
                </a:extLst>
              </a:tr>
              <a:tr h="279037">
                <a:tc>
                  <a:txBody>
                    <a:bodyPr/>
                    <a:lstStyle/>
                    <a:p>
                      <a:r>
                        <a:rPr lang="en-US" sz="1400" noProof="0" dirty="0"/>
                        <a:t>Edito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400" noProof="0" dirty="0"/>
                        <a:t>Olivier </a:t>
                      </a:r>
                      <a:r>
                        <a:rPr lang="en-US" sz="1400" noProof="0" dirty="0" err="1"/>
                        <a:t>Levillain</a:t>
                      </a:r>
                      <a:endParaRPr lang="en-US" sz="1400" noProof="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399741755"/>
                  </a:ext>
                </a:extLst>
              </a:tr>
              <a:tr h="279037">
                <a:tc>
                  <a:txBody>
                    <a:bodyPr/>
                    <a:lstStyle/>
                    <a:p>
                      <a:r>
                        <a:rPr lang="en-US" sz="1400" noProof="0" dirty="0"/>
                        <a:t>Dissemin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400" noProof="0" dirty="0"/>
                        <a:t>Public, Report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3485933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4474149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4 – Next Activities</a:t>
            </a:r>
            <a:br>
              <a:rPr lang="en-US" dirty="0"/>
            </a:br>
            <a:r>
              <a:rPr lang="en-US" dirty="0">
                <a:solidFill>
                  <a:schemeClr val="accent1"/>
                </a:solidFill>
              </a:rPr>
              <a:t>To Deliver</a:t>
            </a:r>
          </a:p>
        </p:txBody>
      </p:sp>
      <p:sp>
        <p:nvSpPr>
          <p:cNvPr id="6" name="Espace réservé du contenu 4">
            <a:extLst>
              <a:ext uri="{FF2B5EF4-FFF2-40B4-BE49-F238E27FC236}">
                <a16:creationId xmlns:a16="http://schemas.microsoft.com/office/drawing/2014/main" id="{0EF24A65-4D01-3249-A1F8-224E160D913B}"/>
              </a:ext>
            </a:extLst>
          </p:cNvPr>
          <p:cNvSpPr txBox="1">
            <a:spLocks/>
          </p:cNvSpPr>
          <p:nvPr/>
        </p:nvSpPr>
        <p:spPr>
          <a:xfrm>
            <a:off x="595312" y="1495200"/>
            <a:ext cx="10368000" cy="3881870"/>
          </a:xfrm>
          <a:prstGeom prst="rect">
            <a:avLst/>
          </a:prstGeom>
        </p:spPr>
        <p:txBody>
          <a:bodyPr vert="horz" lIns="0" tIns="0" rIns="0" bIns="0" rtlCol="0">
            <a:normAutofit fontScale="92500" lnSpcReduction="10000"/>
          </a:bodyPr>
          <a:lstStyle>
            <a:lvl1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 3" panose="05040102010807070707" pitchFamily="18" charset="2"/>
              <a:buChar char="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 3" panose="05040102010807070707" pitchFamily="18" charset="2"/>
              <a:buChar char="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 3" panose="05040102010807070707" pitchFamily="18" charset="2"/>
              <a:buChar char="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 3" panose="05040102010807070707" pitchFamily="18" charset="2"/>
              <a:buChar char="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 3" panose="05040102010807070707" pitchFamily="18" charset="2"/>
              <a:buChar char="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1" dirty="0"/>
              <a:t>KPIs</a:t>
            </a:r>
          </a:p>
          <a:p>
            <a:pPr lvl="1"/>
            <a:r>
              <a:rPr lang="en-US" sz="2000" dirty="0"/>
              <a:t>#6.1 - # of courses executed using the curricula developed by the project</a:t>
            </a:r>
          </a:p>
          <a:p>
            <a:pPr lvl="2"/>
            <a:r>
              <a:rPr lang="en-US" sz="1800" dirty="0"/>
              <a:t>Target: 20</a:t>
            </a:r>
          </a:p>
          <a:p>
            <a:pPr lvl="1"/>
            <a:r>
              <a:rPr lang="en-US" sz="2000" dirty="0"/>
              <a:t>#6.2 - Satisfaction and # of trainees who successfully finished security-related courses designed within the project</a:t>
            </a:r>
          </a:p>
          <a:p>
            <a:pPr lvl="2"/>
            <a:r>
              <a:rPr lang="en-US" sz="1800" dirty="0"/>
              <a:t>Target: 400</a:t>
            </a:r>
          </a:p>
          <a:p>
            <a:pPr lvl="1"/>
            <a:r>
              <a:rPr lang="en-US" sz="2000" dirty="0"/>
              <a:t>#6.3 - # of directly addressed people (through participation at conferences, workshops, trainings, etc.) by the awareness program by the end of the project</a:t>
            </a:r>
          </a:p>
          <a:p>
            <a:pPr lvl="2"/>
            <a:r>
              <a:rPr lang="en-US" sz="1800" dirty="0"/>
              <a:t>Target: 5000</a:t>
            </a:r>
          </a:p>
          <a:p>
            <a:pPr lvl="1"/>
            <a:endParaRPr lang="en-US" dirty="0"/>
          </a:p>
          <a:p>
            <a:pPr marL="0" indent="0" algn="ctr">
              <a:buNone/>
            </a:pPr>
            <a:r>
              <a:rPr lang="en-US" sz="2800" b="1" dirty="0"/>
              <a:t>All WP9 partners please contribute:</a:t>
            </a:r>
          </a:p>
          <a:p>
            <a:pPr lvl="2" algn="ctr"/>
            <a:r>
              <a:rPr lang="cs-CZ" dirty="0">
                <a:hlinkClick r:id="rId2"/>
              </a:rPr>
              <a:t>https://nextcloud.sparta.eu/index.php/s/MKSMtFANfAQPkJy</a:t>
            </a:r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marL="252000" lvl="1" indent="0">
              <a:buFont typeface="Wingdings 3" panose="05040102010807070707" pitchFamily="18" charset="2"/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950749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0C8D6A-5A32-471E-B08B-3BB2A8B693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ank you for watching!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3C027A1-2232-4AB2-83A1-030D2830DB3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@</a:t>
            </a:r>
            <a:r>
              <a:rPr lang="en-US" dirty="0" err="1"/>
              <a:t>sparta_eu</a:t>
            </a:r>
            <a:r>
              <a:rPr lang="en-US" dirty="0"/>
              <a:t> | sparta.eu</a:t>
            </a:r>
          </a:p>
          <a:p>
            <a:r>
              <a:rPr lang="en-US" dirty="0"/>
              <a:t>February 2021</a:t>
            </a:r>
            <a:endParaRPr lang="sr-Latn-RS" dirty="0"/>
          </a:p>
        </p:txBody>
      </p:sp>
    </p:spTree>
    <p:extLst>
      <p:ext uri="{BB962C8B-B14F-4D97-AF65-F5344CB8AC3E}">
        <p14:creationId xmlns:p14="http://schemas.microsoft.com/office/powerpoint/2010/main" val="257361521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1 – INTRODUCTION</a:t>
            </a:r>
          </a:p>
        </p:txBody>
      </p:sp>
      <p:sp>
        <p:nvSpPr>
          <p:cNvPr id="4" name="Espace réservé du contenu 6">
            <a:extLst>
              <a:ext uri="{FF2B5EF4-FFF2-40B4-BE49-F238E27FC236}">
                <a16:creationId xmlns:a16="http://schemas.microsoft.com/office/drawing/2014/main" id="{6669056E-9771-E34A-91DD-8A6997870F4E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42912" y="1342800"/>
            <a:ext cx="5653088" cy="4968000"/>
          </a:xfrm>
        </p:spPr>
        <p:txBody>
          <a:bodyPr>
            <a:normAutofit lnSpcReduction="10000"/>
          </a:bodyPr>
          <a:lstStyle/>
          <a:p>
            <a:r>
              <a:rPr lang="en-US" sz="2000" b="1" dirty="0"/>
              <a:t>WP9: Cybersecurity training and awareness</a:t>
            </a:r>
          </a:p>
          <a:p>
            <a:pPr lvl="1"/>
            <a:r>
              <a:rPr lang="en-US" sz="2000" dirty="0"/>
              <a:t>Collects activities on academic programs, professional training and awareness</a:t>
            </a:r>
          </a:p>
          <a:p>
            <a:pPr lvl="1"/>
            <a:r>
              <a:rPr lang="en-US" sz="2000" dirty="0"/>
              <a:t>Faces current problems:</a:t>
            </a:r>
          </a:p>
          <a:p>
            <a:pPr lvl="2"/>
            <a:r>
              <a:rPr lang="en-US" sz="1800" dirty="0"/>
              <a:t>No clear identification of skills necessary for professionals in cybersecurity.</a:t>
            </a:r>
          </a:p>
          <a:p>
            <a:pPr lvl="2"/>
            <a:r>
              <a:rPr lang="en-US" sz="1800" dirty="0"/>
              <a:t>Lack of study programs that keep pace with the technological development in cybersecurity:</a:t>
            </a:r>
          </a:p>
          <a:p>
            <a:pPr lvl="3"/>
            <a:r>
              <a:rPr lang="en-US" sz="1600" dirty="0"/>
              <a:t>No comprehensive methodology for program design.</a:t>
            </a:r>
          </a:p>
          <a:p>
            <a:pPr lvl="3"/>
            <a:r>
              <a:rPr lang="en-US" sz="1600" dirty="0"/>
              <a:t>Lack of good-practice curricula.</a:t>
            </a:r>
          </a:p>
          <a:p>
            <a:pPr lvl="2"/>
            <a:r>
              <a:rPr lang="en-US" sz="1800" dirty="0"/>
              <a:t>Lack of public awareness regarding procedures and tools for the protection of ICT systems.</a:t>
            </a:r>
          </a:p>
          <a:p>
            <a:pPr lvl="2"/>
            <a:r>
              <a:rPr lang="en-US" sz="1800" dirty="0"/>
              <a:t>Scattered environment for practical trainings: labs, cyber ranges, tools.</a:t>
            </a:r>
          </a:p>
          <a:p>
            <a:pPr lvl="2"/>
            <a:r>
              <a:rPr lang="en-US" sz="1800" dirty="0"/>
              <a:t>…</a:t>
            </a:r>
          </a:p>
        </p:txBody>
      </p:sp>
      <p:pic>
        <p:nvPicPr>
          <p:cNvPr id="49154" name="Picture 2" descr="Visible Statement - Information Security Awareness Tool | Information  technology humor, Cyber security awareness, Cyber security technology">
            <a:extLst>
              <a:ext uri="{FF2B5EF4-FFF2-40B4-BE49-F238E27FC236}">
                <a16:creationId xmlns:a16="http://schemas.microsoft.com/office/drawing/2014/main" id="{409D77B8-9D1D-144E-AAA8-358A53FE307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0" y="1920228"/>
            <a:ext cx="4714913" cy="30175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7847250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2 – Scope &amp; Objectives</a:t>
            </a:r>
            <a:br>
              <a:rPr lang="fr-FR" dirty="0"/>
            </a:br>
            <a:r>
              <a:rPr lang="fr-FR" dirty="0" err="1">
                <a:solidFill>
                  <a:schemeClr val="accent1"/>
                </a:solidFill>
              </a:rPr>
              <a:t>OBjectives</a:t>
            </a:r>
            <a:endParaRPr lang="fr-FR" dirty="0">
              <a:solidFill>
                <a:schemeClr val="accent1"/>
              </a:solidFill>
            </a:endParaRPr>
          </a:p>
        </p:txBody>
      </p:sp>
      <p:sp>
        <p:nvSpPr>
          <p:cNvPr id="7" name="Espace réservé du contenu 2">
            <a:extLst>
              <a:ext uri="{FF2B5EF4-FFF2-40B4-BE49-F238E27FC236}">
                <a16:creationId xmlns:a16="http://schemas.microsoft.com/office/drawing/2014/main" id="{B1FC1590-28DD-954E-8ED6-B82818BF761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42911" y="1342800"/>
            <a:ext cx="10542245" cy="4968000"/>
          </a:xfrm>
        </p:spPr>
        <p:txBody>
          <a:bodyPr>
            <a:normAutofit lnSpcReduction="10000"/>
          </a:bodyPr>
          <a:lstStyle/>
          <a:p>
            <a:r>
              <a:rPr lang="en-US" sz="2000" b="1" noProof="0" dirty="0"/>
              <a:t>Structure:</a:t>
            </a:r>
          </a:p>
          <a:p>
            <a:pPr lvl="1"/>
            <a:r>
              <a:rPr lang="en-US" dirty="0"/>
              <a:t>Overview</a:t>
            </a:r>
          </a:p>
          <a:p>
            <a:pPr lvl="1"/>
            <a:r>
              <a:rPr lang="en-US" dirty="0"/>
              <a:t>Duration: M01-M36</a:t>
            </a:r>
          </a:p>
          <a:p>
            <a:pPr lvl="1"/>
            <a:r>
              <a:rPr lang="en-US" dirty="0"/>
              <a:t>WP Lead: Jan </a:t>
            </a:r>
            <a:r>
              <a:rPr lang="en-US" dirty="0" err="1"/>
              <a:t>Hajny</a:t>
            </a:r>
            <a:r>
              <a:rPr lang="en-US" dirty="0"/>
              <a:t> (BUT)</a:t>
            </a:r>
          </a:p>
          <a:p>
            <a:pPr lvl="1"/>
            <a:r>
              <a:rPr lang="en-US" dirty="0"/>
              <a:t>Partners involved: BUT, SAP, TUM, UBO, ANSSI, IMT, YWH, CINI, CNIT, ISCOM, KTU, L3CE, SMILE, PPBW</a:t>
            </a:r>
          </a:p>
          <a:p>
            <a:pPr marL="0" indent="0">
              <a:buNone/>
            </a:pPr>
            <a:endParaRPr lang="en-US" sz="2000" b="1" noProof="0" dirty="0"/>
          </a:p>
          <a:p>
            <a:r>
              <a:rPr lang="en-US" sz="2000" b="1" noProof="0" dirty="0"/>
              <a:t>Objectives</a:t>
            </a:r>
            <a:r>
              <a:rPr lang="en-US" noProof="0" dirty="0"/>
              <a:t>:</a:t>
            </a:r>
          </a:p>
          <a:p>
            <a:pPr lvl="1"/>
            <a:r>
              <a:rPr lang="en-US" dirty="0"/>
              <a:t>Deliver novel, non-existing skills catalogue linked to roles in cybersecurity -&gt; SPARTA Cybersecurity Skills Framework (</a:t>
            </a:r>
            <a:r>
              <a:rPr lang="en-US" b="1" dirty="0"/>
              <a:t>SPARTA CSF</a:t>
            </a:r>
            <a:r>
              <a:rPr lang="en-US" dirty="0"/>
              <a:t>).</a:t>
            </a:r>
          </a:p>
          <a:p>
            <a:pPr lvl="1"/>
            <a:r>
              <a:rPr lang="en-US" noProof="0" dirty="0"/>
              <a:t>Use the</a:t>
            </a:r>
            <a:r>
              <a:rPr lang="en-US" dirty="0"/>
              <a:t> SPARTA CSF to design novel university and professional best practice </a:t>
            </a:r>
            <a:r>
              <a:rPr lang="en-US" b="1" dirty="0"/>
              <a:t>curricula </a:t>
            </a:r>
            <a:r>
              <a:rPr lang="en-US" dirty="0"/>
              <a:t>and</a:t>
            </a:r>
            <a:r>
              <a:rPr lang="en-US" b="1" dirty="0"/>
              <a:t> guidelines</a:t>
            </a:r>
            <a:r>
              <a:rPr lang="en-US" dirty="0"/>
              <a:t> how to create them.</a:t>
            </a:r>
          </a:p>
          <a:p>
            <a:pPr lvl="1"/>
            <a:r>
              <a:rPr lang="en-US" noProof="0" dirty="0"/>
              <a:t>Evaluate the curricula </a:t>
            </a:r>
            <a:r>
              <a:rPr lang="en-US" dirty="0"/>
              <a:t>with </a:t>
            </a:r>
            <a:r>
              <a:rPr lang="en-US" b="1" dirty="0"/>
              <a:t>real students </a:t>
            </a:r>
            <a:r>
              <a:rPr lang="en-US" dirty="0"/>
              <a:t>and in </a:t>
            </a:r>
            <a:r>
              <a:rPr lang="en-US" b="1" dirty="0"/>
              <a:t>real programs</a:t>
            </a:r>
            <a:r>
              <a:rPr lang="en-US" noProof="0" dirty="0"/>
              <a:t>.</a:t>
            </a:r>
            <a:endParaRPr lang="en-US" dirty="0"/>
          </a:p>
          <a:p>
            <a:pPr lvl="1"/>
            <a:r>
              <a:rPr lang="en-US" noProof="0" dirty="0"/>
              <a:t>Extend the current </a:t>
            </a:r>
            <a:r>
              <a:rPr lang="en-US" dirty="0"/>
              <a:t>infrastructure for teaching and develop novel best-practice scenarios of </a:t>
            </a:r>
            <a:r>
              <a:rPr lang="en-US" b="1" dirty="0"/>
              <a:t>cyber ranges </a:t>
            </a:r>
            <a:r>
              <a:rPr lang="en-US" dirty="0"/>
              <a:t>and interconnected </a:t>
            </a:r>
            <a:r>
              <a:rPr lang="en-US" b="1" dirty="0"/>
              <a:t>labs</a:t>
            </a:r>
            <a:r>
              <a:rPr lang="en-US" dirty="0"/>
              <a:t>.</a:t>
            </a:r>
          </a:p>
          <a:p>
            <a:pPr lvl="1"/>
            <a:r>
              <a:rPr lang="en-US" noProof="0" dirty="0"/>
              <a:t>Governance: involve key partners and create the </a:t>
            </a:r>
            <a:r>
              <a:rPr lang="en-US" b="1" noProof="0" dirty="0"/>
              <a:t>network</a:t>
            </a:r>
            <a:r>
              <a:rPr lang="en-US" noProof="0" dirty="0"/>
              <a:t> for contribution to the design and exploitation of results</a:t>
            </a:r>
            <a:r>
              <a:rPr lang="en-US" dirty="0"/>
              <a:t>, contribute to the synchronization and cooperation in the field of cyber security education </a:t>
            </a:r>
            <a:r>
              <a:rPr lang="en-US" b="1" dirty="0"/>
              <a:t>across EU</a:t>
            </a:r>
            <a:r>
              <a:rPr lang="en-US" dirty="0"/>
              <a:t>.</a:t>
            </a:r>
            <a:endParaRPr lang="en-US" noProof="0" dirty="0"/>
          </a:p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0986836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2C9E12E-B644-483D-91C0-391C4A7089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2 – SCOPE &amp; Objectives</a:t>
            </a:r>
            <a:br>
              <a:rPr lang="fr-FR" dirty="0"/>
            </a:br>
            <a:r>
              <a:rPr lang="fr-FR" dirty="0">
                <a:solidFill>
                  <a:schemeClr val="accent1"/>
                </a:solidFill>
              </a:rPr>
              <a:t>Roadmap</a:t>
            </a:r>
            <a:endParaRPr lang="en-US" noProof="0" dirty="0">
              <a:solidFill>
                <a:schemeClr val="accent1"/>
              </a:solidFill>
            </a:endParaRP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0D3D84CA-C87A-454C-91E4-A9ACCB1658F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2914" y="1531406"/>
            <a:ext cx="10146535" cy="44498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951651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3 – Current Status &amp; Achievements</a:t>
            </a:r>
            <a:br>
              <a:rPr lang="en-US" dirty="0"/>
            </a:br>
            <a:r>
              <a:rPr lang="en-US" dirty="0">
                <a:solidFill>
                  <a:schemeClr val="accent1"/>
                </a:solidFill>
              </a:rPr>
              <a:t>Available Results</a:t>
            </a:r>
          </a:p>
        </p:txBody>
      </p:sp>
      <p:sp>
        <p:nvSpPr>
          <p:cNvPr id="6" name="Espace réservé du contenu 4">
            <a:extLst>
              <a:ext uri="{FF2B5EF4-FFF2-40B4-BE49-F238E27FC236}">
                <a16:creationId xmlns:a16="http://schemas.microsoft.com/office/drawing/2014/main" id="{0EF24A65-4D01-3249-A1F8-224E160D913B}"/>
              </a:ext>
            </a:extLst>
          </p:cNvPr>
          <p:cNvSpPr txBox="1">
            <a:spLocks/>
          </p:cNvSpPr>
          <p:nvPr/>
        </p:nvSpPr>
        <p:spPr>
          <a:xfrm>
            <a:off x="595312" y="1495200"/>
            <a:ext cx="10368000" cy="259972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 3" panose="05040102010807070707" pitchFamily="18" charset="2"/>
              <a:buChar char="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 3" panose="05040102010807070707" pitchFamily="18" charset="2"/>
              <a:buChar char="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 3" panose="05040102010807070707" pitchFamily="18" charset="2"/>
              <a:buChar char="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 3" panose="05040102010807070707" pitchFamily="18" charset="2"/>
              <a:buChar char="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 3" panose="05040102010807070707" pitchFamily="18" charset="2"/>
              <a:buChar char="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1" dirty="0"/>
              <a:t>D9.1, M12, Cybersecurity Skills Framework</a:t>
            </a:r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marL="252000" lvl="1" indent="0">
              <a:buFont typeface="Wingdings 3" panose="05040102010807070707" pitchFamily="18" charset="2"/>
              <a:buNone/>
            </a:pPr>
            <a:endParaRPr lang="en-US" dirty="0"/>
          </a:p>
        </p:txBody>
      </p:sp>
      <p:graphicFrame>
        <p:nvGraphicFramePr>
          <p:cNvPr id="10" name="Tableau 5">
            <a:extLst>
              <a:ext uri="{FF2B5EF4-FFF2-40B4-BE49-F238E27FC236}">
                <a16:creationId xmlns:a16="http://schemas.microsoft.com/office/drawing/2014/main" id="{069C0807-A2B4-FB4E-BDFF-12FA79AF2CD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09607056"/>
              </p:ext>
            </p:extLst>
          </p:nvPr>
        </p:nvGraphicFramePr>
        <p:xfrm>
          <a:off x="884550" y="1834294"/>
          <a:ext cx="9750320" cy="2072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83984">
                  <a:extLst>
                    <a:ext uri="{9D8B030D-6E8A-4147-A177-3AD203B41FA5}">
                      <a16:colId xmlns:a16="http://schemas.microsoft.com/office/drawing/2014/main" val="3615954095"/>
                    </a:ext>
                  </a:extLst>
                </a:gridCol>
                <a:gridCol w="7666336">
                  <a:extLst>
                    <a:ext uri="{9D8B030D-6E8A-4147-A177-3AD203B41FA5}">
                      <a16:colId xmlns:a16="http://schemas.microsoft.com/office/drawing/2014/main" val="3942912552"/>
                    </a:ext>
                  </a:extLst>
                </a:gridCol>
              </a:tblGrid>
              <a:tr h="279037">
                <a:tc gridSpan="2">
                  <a:txBody>
                    <a:bodyPr/>
                    <a:lstStyle/>
                    <a:p>
                      <a:pPr algn="ctr"/>
                      <a:r>
                        <a:rPr lang="en-US" sz="1600" noProof="0" dirty="0"/>
                        <a:t>D9.1 – Cybersecurity Skills Framework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noProof="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143380392"/>
                  </a:ext>
                </a:extLst>
              </a:tr>
              <a:tr h="279037">
                <a:tc>
                  <a:txBody>
                    <a:bodyPr/>
                    <a:lstStyle/>
                    <a:p>
                      <a:r>
                        <a:rPr lang="en-US" sz="1400" noProof="0" dirty="0"/>
                        <a:t>Deliverable Numbe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400" noProof="0" dirty="0"/>
                        <a:t>SU-ICT-03-830892 / D9.1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73706222"/>
                  </a:ext>
                </a:extLst>
              </a:tr>
              <a:tr h="279037">
                <a:tc>
                  <a:txBody>
                    <a:bodyPr/>
                    <a:lstStyle/>
                    <a:p>
                      <a:r>
                        <a:rPr lang="en-US" sz="1400" noProof="0" dirty="0"/>
                        <a:t>Due Dat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400" noProof="0" dirty="0" err="1"/>
                        <a:t>Januray</a:t>
                      </a:r>
                      <a:r>
                        <a:rPr lang="en-US" sz="1400" noProof="0" dirty="0"/>
                        <a:t> 2020 – M12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780428369"/>
                  </a:ext>
                </a:extLst>
              </a:tr>
              <a:tr h="279037">
                <a:tc>
                  <a:txBody>
                    <a:bodyPr/>
                    <a:lstStyle/>
                    <a:p>
                      <a:r>
                        <a:rPr lang="en-US" sz="1400" noProof="0" dirty="0"/>
                        <a:t>Organiz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400" noProof="0" dirty="0"/>
                        <a:t>L3CE - Lithuanian Cybercrime Center of Excellence for Training, Research and Educatio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42804758"/>
                  </a:ext>
                </a:extLst>
              </a:tr>
              <a:tr h="279037">
                <a:tc>
                  <a:txBody>
                    <a:bodyPr/>
                    <a:lstStyle/>
                    <a:p>
                      <a:r>
                        <a:rPr lang="en-US" sz="1400" noProof="0" dirty="0"/>
                        <a:t>Edito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400" noProof="0" dirty="0" err="1"/>
                        <a:t>Edmundas</a:t>
                      </a:r>
                      <a:r>
                        <a:rPr lang="en-US" sz="1400" noProof="0" dirty="0"/>
                        <a:t> </a:t>
                      </a:r>
                      <a:r>
                        <a:rPr lang="en-US" sz="1400" noProof="0" dirty="0" err="1"/>
                        <a:t>Piesarskas</a:t>
                      </a:r>
                      <a:endParaRPr lang="en-US" sz="1400" noProof="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399741755"/>
                  </a:ext>
                </a:extLst>
              </a:tr>
              <a:tr h="279037">
                <a:tc>
                  <a:txBody>
                    <a:bodyPr/>
                    <a:lstStyle/>
                    <a:p>
                      <a:r>
                        <a:rPr lang="en-US" sz="1400" noProof="0" dirty="0"/>
                        <a:t>Dissemin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400" noProof="0" dirty="0"/>
                        <a:t>Public: https://</a:t>
                      </a:r>
                      <a:r>
                        <a:rPr lang="en-US" sz="1400" noProof="0" dirty="0" err="1"/>
                        <a:t>www.sparta.eu</a:t>
                      </a:r>
                      <a:r>
                        <a:rPr lang="en-US" sz="1400" noProof="0" dirty="0"/>
                        <a:t>/assets/deliverables/SPARTA-D9.1-Cybersecurity-skills-framework-PU-M12.pdf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348593309"/>
                  </a:ext>
                </a:extLst>
              </a:tr>
            </a:tbl>
          </a:graphicData>
        </a:graphic>
      </p:graphicFrame>
      <p:graphicFrame>
        <p:nvGraphicFramePr>
          <p:cNvPr id="11" name="Tableau 5">
            <a:extLst>
              <a:ext uri="{FF2B5EF4-FFF2-40B4-BE49-F238E27FC236}">
                <a16:creationId xmlns:a16="http://schemas.microsoft.com/office/drawing/2014/main" id="{A066FB36-06A0-7A40-A7FA-44210941875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86611642"/>
              </p:ext>
            </p:extLst>
          </p:nvPr>
        </p:nvGraphicFramePr>
        <p:xfrm>
          <a:off x="904152" y="4498180"/>
          <a:ext cx="9750320" cy="2072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83984">
                  <a:extLst>
                    <a:ext uri="{9D8B030D-6E8A-4147-A177-3AD203B41FA5}">
                      <a16:colId xmlns:a16="http://schemas.microsoft.com/office/drawing/2014/main" val="3615954095"/>
                    </a:ext>
                  </a:extLst>
                </a:gridCol>
                <a:gridCol w="7666336">
                  <a:extLst>
                    <a:ext uri="{9D8B030D-6E8A-4147-A177-3AD203B41FA5}">
                      <a16:colId xmlns:a16="http://schemas.microsoft.com/office/drawing/2014/main" val="3942912552"/>
                    </a:ext>
                  </a:extLst>
                </a:gridCol>
              </a:tblGrid>
              <a:tr h="271403">
                <a:tc gridSpan="2">
                  <a:txBody>
                    <a:bodyPr/>
                    <a:lstStyle/>
                    <a:p>
                      <a:pPr algn="ctr"/>
                      <a:r>
                        <a:rPr lang="en-US" sz="1600" noProof="0" dirty="0"/>
                        <a:t>D9.2 – Curricula Descriptions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noProof="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143380392"/>
                  </a:ext>
                </a:extLst>
              </a:tr>
              <a:tr h="246730">
                <a:tc>
                  <a:txBody>
                    <a:bodyPr/>
                    <a:lstStyle/>
                    <a:p>
                      <a:r>
                        <a:rPr lang="en-US" sz="1400" noProof="0" dirty="0"/>
                        <a:t>Deliverable Numbe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400" noProof="0" dirty="0"/>
                        <a:t>SU-ICT-03-830892 / D9.2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73706222"/>
                  </a:ext>
                </a:extLst>
              </a:tr>
              <a:tr h="246730">
                <a:tc>
                  <a:txBody>
                    <a:bodyPr/>
                    <a:lstStyle/>
                    <a:p>
                      <a:r>
                        <a:rPr lang="en-US" sz="1400" noProof="0" dirty="0"/>
                        <a:t>Due Dat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400" noProof="0"/>
                        <a:t>July </a:t>
                      </a:r>
                      <a:r>
                        <a:rPr lang="en-US" sz="1400" noProof="0" dirty="0"/>
                        <a:t>2020 – M18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780428369"/>
                  </a:ext>
                </a:extLst>
              </a:tr>
              <a:tr h="246730">
                <a:tc>
                  <a:txBody>
                    <a:bodyPr/>
                    <a:lstStyle/>
                    <a:p>
                      <a:r>
                        <a:rPr lang="en-US" sz="1400" noProof="0" dirty="0"/>
                        <a:t>Organiz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400" noProof="0" dirty="0"/>
                        <a:t>BUT – Brno University of Technology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42804758"/>
                  </a:ext>
                </a:extLst>
              </a:tr>
              <a:tr h="246730">
                <a:tc>
                  <a:txBody>
                    <a:bodyPr/>
                    <a:lstStyle/>
                    <a:p>
                      <a:r>
                        <a:rPr lang="en-US" sz="1400" noProof="0" dirty="0"/>
                        <a:t>Edito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400" noProof="0" dirty="0"/>
                        <a:t>Jan </a:t>
                      </a:r>
                      <a:r>
                        <a:rPr lang="en-US" sz="1400" noProof="0" dirty="0" err="1"/>
                        <a:t>Hajny</a:t>
                      </a:r>
                      <a:endParaRPr lang="en-US" sz="1400" noProof="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399741755"/>
                  </a:ext>
                </a:extLst>
              </a:tr>
              <a:tr h="246730">
                <a:tc>
                  <a:txBody>
                    <a:bodyPr/>
                    <a:lstStyle/>
                    <a:p>
                      <a:r>
                        <a:rPr lang="en-US" sz="1400" noProof="0" dirty="0"/>
                        <a:t>Dissemin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400" noProof="0" dirty="0"/>
                        <a:t>Public: https://</a:t>
                      </a:r>
                      <a:r>
                        <a:rPr lang="en-US" sz="1400" noProof="0" dirty="0" err="1"/>
                        <a:t>www.sparta.eu</a:t>
                      </a:r>
                      <a:r>
                        <a:rPr lang="en-US" sz="1400" noProof="0" dirty="0"/>
                        <a:t>/assets/deliverables/SPARTA-D9.2-Curricula-descriptions-PU-M18.pdf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348593309"/>
                  </a:ext>
                </a:extLst>
              </a:tr>
            </a:tbl>
          </a:graphicData>
        </a:graphic>
      </p:graphicFrame>
      <p:sp>
        <p:nvSpPr>
          <p:cNvPr id="13" name="Espace réservé du contenu 4">
            <a:extLst>
              <a:ext uri="{FF2B5EF4-FFF2-40B4-BE49-F238E27FC236}">
                <a16:creationId xmlns:a16="http://schemas.microsoft.com/office/drawing/2014/main" id="{EA703500-65DF-274B-9DF7-F60E8E8EDF32}"/>
              </a:ext>
            </a:extLst>
          </p:cNvPr>
          <p:cNvSpPr txBox="1">
            <a:spLocks/>
          </p:cNvSpPr>
          <p:nvPr/>
        </p:nvSpPr>
        <p:spPr>
          <a:xfrm>
            <a:off x="595312" y="4171188"/>
            <a:ext cx="5338349" cy="259972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 3" panose="05040102010807070707" pitchFamily="18" charset="2"/>
              <a:buChar char="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 3" panose="05040102010807070707" pitchFamily="18" charset="2"/>
              <a:buChar char="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 3" panose="05040102010807070707" pitchFamily="18" charset="2"/>
              <a:buChar char="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 3" panose="05040102010807070707" pitchFamily="18" charset="2"/>
              <a:buChar char="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 3" panose="05040102010807070707" pitchFamily="18" charset="2"/>
              <a:buChar char="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1" dirty="0"/>
              <a:t>D9.2, M18, Curricula Descriptions</a:t>
            </a:r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marL="252000" lvl="1" indent="0">
              <a:buFont typeface="Wingdings 3" panose="05040102010807070707" pitchFamily="18" charset="2"/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492325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3 – Current Status &amp; Achievements</a:t>
            </a:r>
            <a:br>
              <a:rPr lang="en-US" dirty="0"/>
            </a:br>
            <a:r>
              <a:rPr lang="en-US" dirty="0">
                <a:solidFill>
                  <a:schemeClr val="accent1"/>
                </a:solidFill>
              </a:rPr>
              <a:t>Available Results</a:t>
            </a:r>
          </a:p>
        </p:txBody>
      </p:sp>
      <p:sp>
        <p:nvSpPr>
          <p:cNvPr id="6" name="Espace réservé du contenu 4">
            <a:extLst>
              <a:ext uri="{FF2B5EF4-FFF2-40B4-BE49-F238E27FC236}">
                <a16:creationId xmlns:a16="http://schemas.microsoft.com/office/drawing/2014/main" id="{0EF24A65-4D01-3249-A1F8-224E160D913B}"/>
              </a:ext>
            </a:extLst>
          </p:cNvPr>
          <p:cNvSpPr txBox="1">
            <a:spLocks/>
          </p:cNvSpPr>
          <p:nvPr/>
        </p:nvSpPr>
        <p:spPr>
          <a:xfrm>
            <a:off x="595312" y="1495200"/>
            <a:ext cx="10368000" cy="259972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 3" panose="05040102010807070707" pitchFamily="18" charset="2"/>
              <a:buChar char="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 3" panose="05040102010807070707" pitchFamily="18" charset="2"/>
              <a:buChar char="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 3" panose="05040102010807070707" pitchFamily="18" charset="2"/>
              <a:buChar char="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 3" panose="05040102010807070707" pitchFamily="18" charset="2"/>
              <a:buChar char="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 3" panose="05040102010807070707" pitchFamily="18" charset="2"/>
              <a:buChar char="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1" dirty="0"/>
              <a:t>D9.3, M24, Training Evaluation Pilot</a:t>
            </a:r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marL="252000" lvl="1" indent="0">
              <a:buFont typeface="Wingdings 3" panose="05040102010807070707" pitchFamily="18" charset="2"/>
              <a:buNone/>
            </a:pPr>
            <a:endParaRPr lang="en-US" dirty="0"/>
          </a:p>
        </p:txBody>
      </p:sp>
      <p:graphicFrame>
        <p:nvGraphicFramePr>
          <p:cNvPr id="10" name="Tableau 5">
            <a:extLst>
              <a:ext uri="{FF2B5EF4-FFF2-40B4-BE49-F238E27FC236}">
                <a16:creationId xmlns:a16="http://schemas.microsoft.com/office/drawing/2014/main" id="{069C0807-A2B4-FB4E-BDFF-12FA79AF2CD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23630533"/>
              </p:ext>
            </p:extLst>
          </p:nvPr>
        </p:nvGraphicFramePr>
        <p:xfrm>
          <a:off x="884550" y="1834294"/>
          <a:ext cx="9750320" cy="1859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83984">
                  <a:extLst>
                    <a:ext uri="{9D8B030D-6E8A-4147-A177-3AD203B41FA5}">
                      <a16:colId xmlns:a16="http://schemas.microsoft.com/office/drawing/2014/main" val="3615954095"/>
                    </a:ext>
                  </a:extLst>
                </a:gridCol>
                <a:gridCol w="7666336">
                  <a:extLst>
                    <a:ext uri="{9D8B030D-6E8A-4147-A177-3AD203B41FA5}">
                      <a16:colId xmlns:a16="http://schemas.microsoft.com/office/drawing/2014/main" val="3942912552"/>
                    </a:ext>
                  </a:extLst>
                </a:gridCol>
              </a:tblGrid>
              <a:tr h="279037">
                <a:tc gridSpan="2">
                  <a:txBody>
                    <a:bodyPr/>
                    <a:lstStyle/>
                    <a:p>
                      <a:pPr algn="ctr"/>
                      <a:r>
                        <a:rPr lang="en-US" sz="1600" noProof="0" dirty="0"/>
                        <a:t>D9.3 – Training Evaluation Pilot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noProof="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143380392"/>
                  </a:ext>
                </a:extLst>
              </a:tr>
              <a:tr h="279037">
                <a:tc>
                  <a:txBody>
                    <a:bodyPr/>
                    <a:lstStyle/>
                    <a:p>
                      <a:r>
                        <a:rPr lang="en-US" sz="1400" noProof="0" dirty="0"/>
                        <a:t>Deliverable Numbe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400" noProof="0" dirty="0"/>
                        <a:t>SU-ICT-03-830892 / D9.3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73706222"/>
                  </a:ext>
                </a:extLst>
              </a:tr>
              <a:tr h="279037">
                <a:tc>
                  <a:txBody>
                    <a:bodyPr/>
                    <a:lstStyle/>
                    <a:p>
                      <a:r>
                        <a:rPr lang="en-US" sz="1400" noProof="0" dirty="0"/>
                        <a:t>Due Dat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400" noProof="0" dirty="0" err="1"/>
                        <a:t>Januray</a:t>
                      </a:r>
                      <a:r>
                        <a:rPr lang="en-US" sz="1400" noProof="0" dirty="0"/>
                        <a:t> 2021 – M24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780428369"/>
                  </a:ext>
                </a:extLst>
              </a:tr>
              <a:tr h="279037">
                <a:tc>
                  <a:txBody>
                    <a:bodyPr/>
                    <a:lstStyle/>
                    <a:p>
                      <a:r>
                        <a:rPr lang="en-US" sz="1400" noProof="0" dirty="0"/>
                        <a:t>Organiz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400" noProof="0" dirty="0"/>
                        <a:t>PPBW – Polish Platform for Homeland Security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42804758"/>
                  </a:ext>
                </a:extLst>
              </a:tr>
              <a:tr h="279037">
                <a:tc>
                  <a:txBody>
                    <a:bodyPr/>
                    <a:lstStyle/>
                    <a:p>
                      <a:r>
                        <a:rPr lang="en-US" sz="1400" noProof="0" dirty="0"/>
                        <a:t>Edito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400" noProof="0" dirty="0" err="1"/>
                        <a:t>Klaudia</a:t>
                      </a:r>
                      <a:r>
                        <a:rPr lang="en-US" sz="1400" noProof="0" dirty="0"/>
                        <a:t> Kaczmarek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399741755"/>
                  </a:ext>
                </a:extLst>
              </a:tr>
              <a:tr h="279037">
                <a:tc>
                  <a:txBody>
                    <a:bodyPr/>
                    <a:lstStyle/>
                    <a:p>
                      <a:r>
                        <a:rPr lang="en-US" sz="1400" noProof="0" dirty="0"/>
                        <a:t>Dissemin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400" noProof="0" dirty="0"/>
                        <a:t>Public: in review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3485933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209304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fr-FR" dirty="0"/>
          </a:p>
          <a:p>
            <a:endParaRPr lang="fr-FR" dirty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3 – Current Status &amp; Achievements</a:t>
            </a:r>
            <a:br>
              <a:rPr lang="en-US" dirty="0"/>
            </a:br>
            <a:r>
              <a:rPr lang="en-US" dirty="0">
                <a:solidFill>
                  <a:schemeClr val="accent1"/>
                </a:solidFill>
              </a:rPr>
              <a:t>SPARTA Education Map</a:t>
            </a:r>
          </a:p>
        </p:txBody>
      </p:sp>
      <p:pic>
        <p:nvPicPr>
          <p:cNvPr id="5" name="Obrázek 4" descr="Obsah obrázku monitor, počítač, mapa, obrazovka&#10;&#10;Popis byl vytvořen automaticky">
            <a:extLst>
              <a:ext uri="{FF2B5EF4-FFF2-40B4-BE49-F238E27FC236}">
                <a16:creationId xmlns:a16="http://schemas.microsoft.com/office/drawing/2014/main" id="{2EF33D0F-E557-134C-8B3A-E5C9A3E9EE4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29278" y="1109660"/>
            <a:ext cx="7395270" cy="5025387"/>
          </a:xfrm>
          <a:prstGeom prst="rect">
            <a:avLst/>
          </a:prstGeom>
        </p:spPr>
      </p:pic>
      <p:sp>
        <p:nvSpPr>
          <p:cNvPr id="6" name="TextovéPole 5">
            <a:extLst>
              <a:ext uri="{FF2B5EF4-FFF2-40B4-BE49-F238E27FC236}">
                <a16:creationId xmlns:a16="http://schemas.microsoft.com/office/drawing/2014/main" id="{77719458-985B-6F49-B36D-9AA89BF18AFA}"/>
              </a:ext>
            </a:extLst>
          </p:cNvPr>
          <p:cNvSpPr txBox="1"/>
          <p:nvPr/>
        </p:nvSpPr>
        <p:spPr>
          <a:xfrm>
            <a:off x="1929278" y="6221721"/>
            <a:ext cx="73952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SPARTA Education Map: </a:t>
            </a:r>
            <a:r>
              <a:rPr lang="en-US" b="1" i="1" dirty="0">
                <a:hlinkClick r:id="rId3"/>
              </a:rPr>
              <a:t>https://</a:t>
            </a:r>
            <a:r>
              <a:rPr lang="en-US" b="1" i="1" dirty="0" err="1">
                <a:hlinkClick r:id="rId3"/>
              </a:rPr>
              <a:t>www.sparta.eu</a:t>
            </a:r>
            <a:r>
              <a:rPr lang="en-US" b="1" i="1" dirty="0">
                <a:hlinkClick r:id="rId3"/>
              </a:rPr>
              <a:t>/study-programs/</a:t>
            </a:r>
            <a:endParaRPr lang="en-US" b="1" i="1" dirty="0"/>
          </a:p>
        </p:txBody>
      </p:sp>
    </p:spTree>
    <p:extLst>
      <p:ext uri="{BB962C8B-B14F-4D97-AF65-F5344CB8AC3E}">
        <p14:creationId xmlns:p14="http://schemas.microsoft.com/office/powerpoint/2010/main" val="106272120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fr-FR"/>
          </a:p>
          <a:p>
            <a:endParaRPr lang="fr-FR" dirty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3 – Current Status &amp; Achievements</a:t>
            </a:r>
            <a:br>
              <a:rPr lang="en-US" dirty="0"/>
            </a:br>
            <a:r>
              <a:rPr lang="en-US" dirty="0">
                <a:solidFill>
                  <a:schemeClr val="accent1"/>
                </a:solidFill>
              </a:rPr>
              <a:t>Cybersecurity Curricula Designer</a:t>
            </a:r>
          </a:p>
        </p:txBody>
      </p:sp>
      <p:sp>
        <p:nvSpPr>
          <p:cNvPr id="11" name="Espace réservé du contenu 8"/>
          <p:cNvSpPr>
            <a:spLocks noGrp="1"/>
          </p:cNvSpPr>
          <p:nvPr>
            <p:ph sz="quarter" idx="13"/>
          </p:nvPr>
        </p:nvSpPr>
        <p:spPr>
          <a:xfrm>
            <a:off x="442912" y="1342800"/>
            <a:ext cx="5123001" cy="4968000"/>
          </a:xfrm>
        </p:spPr>
        <p:txBody>
          <a:bodyPr/>
          <a:lstStyle/>
          <a:p>
            <a:pPr marL="0" indent="0">
              <a:buNone/>
            </a:pPr>
            <a:r>
              <a:rPr lang="en-US" sz="2400" b="1" dirty="0"/>
              <a:t>Curricula Designer Web App</a:t>
            </a:r>
          </a:p>
          <a:p>
            <a:r>
              <a:rPr lang="en-US" sz="2000" dirty="0"/>
              <a:t>A result beyond </a:t>
            </a:r>
            <a:r>
              <a:rPr lang="en-US" sz="2000" dirty="0" err="1"/>
              <a:t>DoA</a:t>
            </a:r>
            <a:r>
              <a:rPr lang="en-US" sz="2000" dirty="0"/>
              <a:t> that implements the </a:t>
            </a:r>
            <a:r>
              <a:rPr lang="en-US" sz="2000" b="1" dirty="0"/>
              <a:t>SPARTA CSF </a:t>
            </a:r>
            <a:r>
              <a:rPr lang="en-US" sz="2000" dirty="0"/>
              <a:t>and helps building customized curricula.</a:t>
            </a:r>
          </a:p>
          <a:p>
            <a:r>
              <a:rPr lang="en-US" sz="2000" dirty="0"/>
              <a:t>Based on </a:t>
            </a:r>
            <a:r>
              <a:rPr lang="en-US" sz="2000" b="1" dirty="0"/>
              <a:t>SPARTA Topics – NICE Competencies – Work Roles </a:t>
            </a:r>
            <a:r>
              <a:rPr lang="en-US" sz="2000" dirty="0"/>
              <a:t>mapping.</a:t>
            </a:r>
          </a:p>
          <a:p>
            <a:r>
              <a:rPr lang="en-US" sz="2000" dirty="0"/>
              <a:t>Allows identification of unsupported “standardized” work roles and </a:t>
            </a:r>
            <a:r>
              <a:rPr lang="en-US" sz="2000" b="1" dirty="0"/>
              <a:t>consistent</a:t>
            </a:r>
            <a:r>
              <a:rPr lang="en-US" sz="2000" dirty="0"/>
              <a:t> analysis of existing programs.</a:t>
            </a:r>
          </a:p>
          <a:p>
            <a:r>
              <a:rPr lang="en-US" sz="2000" dirty="0"/>
              <a:t>Currently in Beta, only for Bachelor’s programs.</a:t>
            </a:r>
          </a:p>
          <a:p>
            <a:endParaRPr lang="en-US" dirty="0"/>
          </a:p>
          <a:p>
            <a:endParaRPr lang="en-US" dirty="0"/>
          </a:p>
        </p:txBody>
      </p:sp>
      <p:pic>
        <p:nvPicPr>
          <p:cNvPr id="5" name="Obrázek 4" descr="Obsah obrázku snímek obrazovky, monitor&#10;&#10;Popis byl vytvořen automaticky">
            <a:extLst>
              <a:ext uri="{FF2B5EF4-FFF2-40B4-BE49-F238E27FC236}">
                <a16:creationId xmlns:a16="http://schemas.microsoft.com/office/drawing/2014/main" id="{37D6AD12-2398-7948-BBA9-634B74CFFD9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82912" y="1746802"/>
            <a:ext cx="5518699" cy="3364396"/>
          </a:xfrm>
          <a:prstGeom prst="rect">
            <a:avLst/>
          </a:prstGeom>
        </p:spPr>
      </p:pic>
      <p:sp>
        <p:nvSpPr>
          <p:cNvPr id="4" name="TextovéPole 3">
            <a:extLst>
              <a:ext uri="{FF2B5EF4-FFF2-40B4-BE49-F238E27FC236}">
                <a16:creationId xmlns:a16="http://schemas.microsoft.com/office/drawing/2014/main" id="{5FD93034-5F3F-EA4D-8CF4-764CB67C478B}"/>
              </a:ext>
            </a:extLst>
          </p:cNvPr>
          <p:cNvSpPr txBox="1"/>
          <p:nvPr/>
        </p:nvSpPr>
        <p:spPr>
          <a:xfrm>
            <a:off x="5626913" y="5157001"/>
            <a:ext cx="537846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>
                <a:hlinkClick r:id="rId3"/>
              </a:rPr>
              <a:t>https://</a:t>
            </a:r>
            <a:r>
              <a:rPr lang="cs-CZ" dirty="0" err="1">
                <a:hlinkClick r:id="rId3"/>
              </a:rPr>
              <a:t>curricula-designer.informacni-bezpecnost.cz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87025881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fr-FR"/>
          </a:p>
          <a:p>
            <a:endParaRPr lang="fr-FR" dirty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4 – Next Activities</a:t>
            </a:r>
            <a:br>
              <a:rPr lang="en-US" dirty="0"/>
            </a:br>
            <a:r>
              <a:rPr lang="en-US" dirty="0">
                <a:solidFill>
                  <a:schemeClr val="accent1"/>
                </a:solidFill>
              </a:rPr>
              <a:t>Piloting and Cyber Ranges</a:t>
            </a:r>
          </a:p>
        </p:txBody>
      </p:sp>
      <p:sp>
        <p:nvSpPr>
          <p:cNvPr id="11" name="Espace réservé du contenu 8"/>
          <p:cNvSpPr>
            <a:spLocks noGrp="1"/>
          </p:cNvSpPr>
          <p:nvPr>
            <p:ph sz="quarter" idx="13"/>
          </p:nvPr>
        </p:nvSpPr>
        <p:spPr>
          <a:xfrm>
            <a:off x="442912" y="1342800"/>
            <a:ext cx="10059625" cy="4968000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n-US" sz="2400" b="1" dirty="0"/>
              <a:t>JCCI and </a:t>
            </a:r>
            <a:r>
              <a:rPr lang="en-US" sz="2400" b="1" dirty="0" err="1"/>
              <a:t>CyberRange</a:t>
            </a:r>
            <a:r>
              <a:rPr lang="en-US" sz="2400" b="1" dirty="0"/>
              <a:t> Federation</a:t>
            </a:r>
          </a:p>
          <a:p>
            <a:r>
              <a:rPr lang="en-US" sz="2000" dirty="0" err="1"/>
              <a:t>OpenSource</a:t>
            </a:r>
            <a:r>
              <a:rPr lang="en-US" sz="2000" dirty="0"/>
              <a:t> tools, available for all,</a:t>
            </a:r>
          </a:p>
          <a:p>
            <a:r>
              <a:rPr lang="en-US" sz="2000" dirty="0"/>
              <a:t>connection among labs in different countries,</a:t>
            </a:r>
          </a:p>
          <a:p>
            <a:r>
              <a:rPr lang="en-US" sz="2000" dirty="0"/>
              <a:t>ecosystem for designing and sharing of scenarios.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sz="2400" b="1" dirty="0"/>
              <a:t>Pilots</a:t>
            </a:r>
          </a:p>
          <a:p>
            <a:r>
              <a:rPr lang="en-US" sz="2000" dirty="0"/>
              <a:t>Early adopters within Go Cyber with SPARTA,</a:t>
            </a:r>
          </a:p>
          <a:p>
            <a:r>
              <a:rPr lang="en-US" sz="2000" dirty="0"/>
              <a:t>universities and professional training institutions within SPARTA,</a:t>
            </a:r>
          </a:p>
          <a:p>
            <a:r>
              <a:rPr lang="en-US" sz="2000" dirty="0"/>
              <a:t>SPARTA network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sz="2400" b="1" dirty="0"/>
              <a:t>Governance and Implementation</a:t>
            </a:r>
          </a:p>
          <a:p>
            <a:r>
              <a:rPr lang="en-US" sz="2000" dirty="0"/>
              <a:t>Cooperation with ENISA, pilots, end users,</a:t>
            </a:r>
          </a:p>
          <a:p>
            <a:r>
              <a:rPr lang="en-US" sz="2000" dirty="0"/>
              <a:t>maintenance and updates of results, i.e. SPARTA Cybersecurity Skills Framework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825754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0HQCq7Sli1riiOwb7WT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7G5XY7nRzmvtwuV3NL.z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7G5XY7nRzmvtwuV3NL.z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7G5XY7nRzmvtwuV3NL.z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7G5XY7nRzmvtwuV3NL.z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7G5XY7nRzmvtwuV3NL.z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0HQCq7Sli1riiOwb7WT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0HQCq7Sli1riiOwb7WT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0HQCq7Sli1riiOwb7WT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0HQCq7Sli1riiOwb7WTA"/>
</p:tagLst>
</file>

<file path=ppt/theme/theme1.xml><?xml version="1.0" encoding="utf-8"?>
<a:theme xmlns:a="http://schemas.openxmlformats.org/drawingml/2006/main" name="Office Theme">
  <a:themeElements>
    <a:clrScheme name="Custom 353">
      <a:dk1>
        <a:srgbClr val="000000"/>
      </a:dk1>
      <a:lt1>
        <a:sysClr val="window" lastClr="FFFFFF"/>
      </a:lt1>
      <a:dk2>
        <a:srgbClr val="445467"/>
      </a:dk2>
      <a:lt2>
        <a:srgbClr val="E7E6E6"/>
      </a:lt2>
      <a:accent1>
        <a:srgbClr val="BC2026"/>
      </a:accent1>
      <a:accent2>
        <a:srgbClr val="F47D60"/>
      </a:accent2>
      <a:accent3>
        <a:srgbClr val="F1553D"/>
      </a:accent3>
      <a:accent4>
        <a:srgbClr val="931A1D"/>
      </a:accent4>
      <a:accent5>
        <a:srgbClr val="F9AC91"/>
      </a:accent5>
      <a:accent6>
        <a:srgbClr val="B4B4B4"/>
      </a:accent6>
      <a:hlink>
        <a:srgbClr val="F47D60"/>
      </a:hlink>
      <a:folHlink>
        <a:srgbClr val="F1553D"/>
      </a:folHlink>
    </a:clrScheme>
    <a:fontScheme name="Custom 86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43742752-C9DF-4E10-B1C2-B4249C77DD57}" vid="{894653B2-B35C-4F27-BCE8-0C817B610E2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35518</TotalTime>
  <Words>820</Words>
  <Application>Microsoft Macintosh PowerPoint</Application>
  <PresentationFormat>Širokoúhlá obrazovka</PresentationFormat>
  <Paragraphs>170</Paragraphs>
  <Slides>12</Slides>
  <Notes>1</Notes>
  <HiddenSlides>0</HiddenSlides>
  <MMClips>0</MMClips>
  <ScaleCrop>false</ScaleCrop>
  <HeadingPairs>
    <vt:vector size="8" baseType="variant">
      <vt:variant>
        <vt:lpstr>Použitá písma</vt:lpstr>
      </vt:variant>
      <vt:variant>
        <vt:i4>2</vt:i4>
      </vt:variant>
      <vt:variant>
        <vt:lpstr>Motiv</vt:lpstr>
      </vt:variant>
      <vt:variant>
        <vt:i4>1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12</vt:i4>
      </vt:variant>
    </vt:vector>
  </HeadingPairs>
  <TitlesOfParts>
    <vt:vector size="16" baseType="lpstr">
      <vt:lpstr>Arial</vt:lpstr>
      <vt:lpstr>Wingdings 3</vt:lpstr>
      <vt:lpstr>Office Theme</vt:lpstr>
      <vt:lpstr>think-cell Slide</vt:lpstr>
      <vt:lpstr>WP 9:  Cybersecurity training and awareness</vt:lpstr>
      <vt:lpstr>1 – INTRODUCTION</vt:lpstr>
      <vt:lpstr>2 – Scope &amp; Objectives OBjectives</vt:lpstr>
      <vt:lpstr>2 – SCOPE &amp; Objectives Roadmap</vt:lpstr>
      <vt:lpstr>3 – Current Status &amp; Achievements Available Results</vt:lpstr>
      <vt:lpstr>3 – Current Status &amp; Achievements Available Results</vt:lpstr>
      <vt:lpstr>3 – Current Status &amp; Achievements SPARTA Education Map</vt:lpstr>
      <vt:lpstr>3 – Current Status &amp; Achievements Cybersecurity Curricula Designer</vt:lpstr>
      <vt:lpstr>4 – Next Activities Piloting and Cyber Ranges</vt:lpstr>
      <vt:lpstr>4 – Next Activities To Deliver</vt:lpstr>
      <vt:lpstr>4 – Next Activities To Deliver</vt:lpstr>
      <vt:lpstr>Thank you for watching!</vt:lpstr>
    </vt:vector>
  </TitlesOfParts>
  <Company>Grizli777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oca</dc:creator>
  <cp:lastModifiedBy>Hajný Jan (89784)</cp:lastModifiedBy>
  <cp:revision>1161</cp:revision>
  <dcterms:created xsi:type="dcterms:W3CDTF">2016-11-27T15:46:03Z</dcterms:created>
  <dcterms:modified xsi:type="dcterms:W3CDTF">2021-02-18T09:18:52Z</dcterms:modified>
</cp:coreProperties>
</file>